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4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900" r:id="rId5"/>
    <p:sldMasterId id="2147483970" r:id="rId6"/>
    <p:sldMasterId id="2147483991" r:id="rId7"/>
    <p:sldMasterId id="2147483996" r:id="rId8"/>
    <p:sldMasterId id="2147484143" r:id="rId9"/>
  </p:sldMasterIdLst>
  <p:notesMasterIdLst>
    <p:notesMasterId r:id="rId20"/>
  </p:notesMasterIdLst>
  <p:handoutMasterIdLst>
    <p:handoutMasterId r:id="rId21"/>
  </p:handoutMasterIdLst>
  <p:sldIdLst>
    <p:sldId id="257" r:id="rId10"/>
    <p:sldId id="2142533870" r:id="rId11"/>
    <p:sldId id="2142533878" r:id="rId12"/>
    <p:sldId id="2142533817" r:id="rId13"/>
    <p:sldId id="2142533868" r:id="rId14"/>
    <p:sldId id="2142533813" r:id="rId15"/>
    <p:sldId id="2142533872" r:id="rId16"/>
    <p:sldId id="2142533869" r:id="rId17"/>
    <p:sldId id="2142533877" r:id="rId18"/>
    <p:sldId id="214253387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omos" id="{03C0E811-38B7-4A89-B572-93129AB47E9A}">
          <p14:sldIdLst>
            <p14:sldId id="257"/>
            <p14:sldId id="2142533870"/>
            <p14:sldId id="2142533878"/>
            <p14:sldId id="2142533817"/>
            <p14:sldId id="2142533868"/>
            <p14:sldId id="2142533813"/>
            <p14:sldId id="2142533872"/>
            <p14:sldId id="2142533869"/>
            <p14:sldId id="2142533877"/>
            <p14:sldId id="21425338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76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3EFD613-E698-0CF7-62C0-E912B245ED14}" name="Ann Berkowitz" initials="" userId="S::aberkowitz@somos.com::256dc72e-cb4d-4f6d-9df9-7787030b4a3b" providerId="AD"/>
  <p188:author id="{80DBE99A-C9A7-7A22-7804-5E5ABE81EAE8}" name="Alex Jennings" initials="AJ" userId="S::alexjennings@alvand.co.uk::31b0222d-8b05-4c5f-8ab9-cbb034c9947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B3E4"/>
    <a:srgbClr val="941651"/>
    <a:srgbClr val="AAAAAA"/>
    <a:srgbClr val="FF2600"/>
    <a:srgbClr val="FF7E79"/>
    <a:srgbClr val="B9A3E4"/>
    <a:srgbClr val="303960"/>
    <a:srgbClr val="FFFFFF"/>
    <a:srgbClr val="454642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96A904-BE0A-D344-AF1E-512FA9AF6FBD}" v="128" dt="2024-06-28T21:15:17.575"/>
    <p1510:client id="{D5F08257-24F2-7D4D-88FC-FD69C75EDE5F}" v="62" dt="2024-06-28T19:46:54.2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33"/>
    <p:restoredTop sz="89048"/>
  </p:normalViewPr>
  <p:slideViewPr>
    <p:cSldViewPr snapToGrid="0">
      <p:cViewPr varScale="1">
        <p:scale>
          <a:sx n="113" d="100"/>
          <a:sy n="113" d="100"/>
        </p:scale>
        <p:origin x="1176" y="184"/>
      </p:cViewPr>
      <p:guideLst>
        <p:guide orient="horz"/>
        <p:guide pos="767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defRPr>
            </a:pPr>
            <a:r>
              <a:rPr lang="en-US"/>
              <a:t>Scam Call Victims (US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Sharp Sans No2 Semibold" pitchFamily="2" charset="77"/>
              <a:ea typeface="Sharp Sans No2 Semibold" pitchFamily="2" charset="77"/>
              <a:cs typeface="Sharp Sans No2 Semibold" pitchFamily="2" charset="77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0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sumer Impact</c:v>
                </c:pt>
              </c:strCache>
            </c:strRef>
          </c:cat>
          <c:val>
            <c:numRef>
              <c:f>Sheet1!$B$2</c:f>
              <c:numCache>
                <c:formatCode>#,##0.0</c:formatCode>
                <c:ptCount val="1"/>
                <c:pt idx="0">
                  <c:v>56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D3-F849-B75B-B2356485352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sumer Impact</c:v>
                </c:pt>
              </c:strCache>
            </c:strRef>
          </c:cat>
          <c:val>
            <c:numRef>
              <c:f>Sheet1!$C$2</c:f>
              <c:numCache>
                <c:formatCode>#,##0.0</c:formatCode>
                <c:ptCount val="1"/>
                <c:pt idx="0">
                  <c:v>594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D3-F849-B75B-B2356485352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2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sumer Impact</c:v>
                </c:pt>
              </c:strCache>
            </c:strRef>
          </c:cat>
          <c:val>
            <c:numRef>
              <c:f>Sheet1!$D$2</c:f>
              <c:numCache>
                <c:formatCode>0.0</c:formatCode>
                <c:ptCount val="1"/>
                <c:pt idx="0">
                  <c:v>684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D3-F849-B75B-B2356485352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23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sumer Impact</c:v>
                </c:pt>
              </c:strCache>
            </c:strRef>
          </c:cat>
          <c:val>
            <c:numRef>
              <c:f>Sheet1!$E$2</c:f>
              <c:numCache>
                <c:formatCode>0.0</c:formatCode>
                <c:ptCount val="1"/>
                <c:pt idx="0">
                  <c:v>562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7C-A846-BC86-B326CB77F7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379897504"/>
        <c:axId val="379899152"/>
      </c:barChart>
      <c:catAx>
        <c:axId val="379897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lt1">
                    <a:lumMod val="85000"/>
                  </a:schemeClr>
                </a:solidFill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defRPr>
            </a:pPr>
            <a:endParaRPr lang="en-US"/>
          </a:p>
        </c:txPr>
        <c:crossAx val="379899152"/>
        <c:crosses val="autoZero"/>
        <c:auto val="1"/>
        <c:lblAlgn val="ctr"/>
        <c:lblOffset val="100"/>
        <c:noMultiLvlLbl val="0"/>
      </c:catAx>
      <c:valAx>
        <c:axId val="379899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lt1">
                    <a:lumMod val="85000"/>
                  </a:schemeClr>
                </a:solidFill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defRPr>
            </a:pPr>
            <a:endParaRPr lang="en-US"/>
          </a:p>
        </c:txPr>
        <c:crossAx val="379897504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lt1">
                  <a:lumMod val="85000"/>
                </a:schemeClr>
              </a:solidFill>
              <a:latin typeface="Sharp Sans No2 Semibold" pitchFamily="2" charset="77"/>
              <a:ea typeface="Sharp Sans No2 Semibold" pitchFamily="2" charset="77"/>
              <a:cs typeface="Sharp Sans No2 Semibold" pitchFamily="2" charset="77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20000">
          <a:schemeClr val="accent1">
            <a:lumMod val="60000"/>
            <a:lumOff val="40000"/>
          </a:schemeClr>
        </a:gs>
        <a:gs pos="100000">
          <a:schemeClr val="accent1">
            <a:lumMod val="50000"/>
          </a:schemeClr>
        </a:gs>
      </a:gsLst>
      <a:lin ang="0" scaled="1"/>
      <a:tileRect/>
    </a:gradFill>
    <a:ln>
      <a:noFill/>
    </a:ln>
    <a:effectLst/>
  </c:spPr>
  <c:txPr>
    <a:bodyPr/>
    <a:lstStyle/>
    <a:p>
      <a:pPr>
        <a:defRPr b="1" i="0">
          <a:latin typeface="Sharp Sans No2 Semibold" pitchFamily="2" charset="77"/>
          <a:ea typeface="Sharp Sans No2 Semibold" pitchFamily="2" charset="77"/>
          <a:cs typeface="Sharp Sans No2 Semibold" pitchFamily="2" charset="77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defRPr>
            </a:pPr>
            <a:r>
              <a:rPr lang="en-US"/>
              <a:t>Scam Call Financial Impact (USD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Sharp Sans No2 Semibold" pitchFamily="2" charset="77"/>
              <a:ea typeface="Sharp Sans No2 Semibold" pitchFamily="2" charset="77"/>
              <a:cs typeface="Sharp Sans No2 Semibold" pitchFamily="2" charset="77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0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sumer Losses</c:v>
                </c:pt>
              </c:strCache>
            </c:strRef>
          </c:cat>
          <c:val>
            <c:numRef>
              <c:f>Sheet1!$B$2</c:f>
              <c:numCache>
                <c:formatCode>#,##0.0</c:formatCode>
                <c:ptCount val="1"/>
                <c:pt idx="0">
                  <c:v>197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68-5F43-A785-00D204C837F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sumer Losses</c:v>
                </c:pt>
              </c:strCache>
            </c:strRef>
          </c:cat>
          <c:val>
            <c:numRef>
              <c:f>Sheet1!$C$2</c:f>
              <c:numCache>
                <c:formatCode>#,##0.0</c:formatCode>
                <c:ptCount val="1"/>
                <c:pt idx="0">
                  <c:v>298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68-5F43-A785-00D204C837F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2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sumer Losses</c:v>
                </c:pt>
              </c:strCache>
            </c:strRef>
          </c:cat>
          <c:val>
            <c:numRef>
              <c:f>Sheet1!$D$2</c:f>
              <c:numCache>
                <c:formatCode>#,##0.0</c:formatCode>
                <c:ptCount val="1"/>
                <c:pt idx="0">
                  <c:v>395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68-5F43-A785-00D204C837F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23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sumer Losses</c:v>
                </c:pt>
              </c:strCache>
            </c:strRef>
          </c:cat>
          <c:val>
            <c:numRef>
              <c:f>Sheet1!$E$2</c:f>
              <c:numCache>
                <c:formatCode>#,##0.0</c:formatCode>
                <c:ptCount val="1"/>
                <c:pt idx="0">
                  <c:v>254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0B-D345-9D67-3ACD6E632F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06829328"/>
        <c:axId val="902044288"/>
      </c:barChart>
      <c:catAx>
        <c:axId val="406829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lt1">
                    <a:lumMod val="85000"/>
                  </a:schemeClr>
                </a:solidFill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defRPr>
            </a:pPr>
            <a:endParaRPr lang="en-US"/>
          </a:p>
        </c:txPr>
        <c:crossAx val="902044288"/>
        <c:crosses val="autoZero"/>
        <c:auto val="1"/>
        <c:lblAlgn val="ctr"/>
        <c:lblOffset val="100"/>
        <c:noMultiLvlLbl val="0"/>
      </c:catAx>
      <c:valAx>
        <c:axId val="902044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lt1">
                    <a:lumMod val="85000"/>
                  </a:schemeClr>
                </a:solidFill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defRPr>
            </a:pPr>
            <a:endParaRPr lang="en-US"/>
          </a:p>
        </c:txPr>
        <c:crossAx val="406829328"/>
        <c:crosses val="autoZero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lt1">
                  <a:lumMod val="85000"/>
                </a:schemeClr>
              </a:solidFill>
              <a:latin typeface="Sharp Sans No2 Semibold" pitchFamily="2" charset="77"/>
              <a:ea typeface="Sharp Sans No2 Semibold" pitchFamily="2" charset="77"/>
              <a:cs typeface="Sharp Sans No2 Semibold" pitchFamily="2" charset="77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20000">
          <a:schemeClr val="accent1">
            <a:lumMod val="60000"/>
            <a:lumOff val="40000"/>
          </a:schemeClr>
        </a:gs>
        <a:gs pos="100000">
          <a:schemeClr val="accent1">
            <a:lumMod val="50000"/>
          </a:schemeClr>
        </a:gs>
      </a:gsLst>
      <a:lin ang="0" scaled="1"/>
      <a:tileRect/>
    </a:gradFill>
    <a:ln>
      <a:noFill/>
    </a:ln>
    <a:effectLst/>
  </c:spPr>
  <c:txPr>
    <a:bodyPr/>
    <a:lstStyle/>
    <a:p>
      <a:pPr>
        <a:defRPr b="1" i="0">
          <a:latin typeface="Sharp Sans No2 Semibold" pitchFamily="2" charset="77"/>
          <a:ea typeface="Sharp Sans No2 Semibold" pitchFamily="2" charset="77"/>
          <a:cs typeface="Sharp Sans No2 Semibold" pitchFamily="2" charset="77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defRPr>
            </a:pPr>
            <a:r>
              <a:rPr lang="en-US"/>
              <a:t>Scam Text Financial Impact (USD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Sharp Sans No2 Semibold" pitchFamily="2" charset="77"/>
              <a:ea typeface="Sharp Sans No2 Semibold" pitchFamily="2" charset="77"/>
              <a:cs typeface="Sharp Sans No2 Semibold" pitchFamily="2" charset="77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sumer Losses</c:v>
                </c:pt>
              </c:strCache>
            </c:strRef>
          </c:cat>
          <c:val>
            <c:numRef>
              <c:f>Sheet1!$B$2</c:f>
              <c:numCache>
                <c:formatCode>#,##0.0</c:formatCode>
                <c:ptCount val="1"/>
                <c:pt idx="0">
                  <c:v>100663311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86-9147-9805-9F346AAAB54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sumer Losses</c:v>
                </c:pt>
              </c:strCache>
            </c:strRef>
          </c:cat>
          <c:val>
            <c:numRef>
              <c:f>Sheet1!$C$2</c:f>
              <c:numCache>
                <c:formatCode>#,##0.0</c:formatCode>
                <c:ptCount val="1"/>
                <c:pt idx="0">
                  <c:v>206392696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86-9147-9805-9F346AAAB54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sumer Losses</c:v>
                </c:pt>
              </c:strCache>
            </c:strRef>
          </c:cat>
          <c:val>
            <c:numRef>
              <c:f>Sheet1!$D$2</c:f>
              <c:numCache>
                <c:formatCode>#,##0.0</c:formatCode>
                <c:ptCount val="1"/>
                <c:pt idx="0">
                  <c:v>265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5-5F4C-8585-DD08909B58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06829328"/>
        <c:axId val="902044288"/>
      </c:barChart>
      <c:catAx>
        <c:axId val="406829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lt1">
                    <a:lumMod val="85000"/>
                  </a:schemeClr>
                </a:solidFill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defRPr>
            </a:pPr>
            <a:endParaRPr lang="en-US"/>
          </a:p>
        </c:txPr>
        <c:crossAx val="902044288"/>
        <c:crosses val="autoZero"/>
        <c:auto val="1"/>
        <c:lblAlgn val="ctr"/>
        <c:lblOffset val="100"/>
        <c:noMultiLvlLbl val="0"/>
      </c:catAx>
      <c:valAx>
        <c:axId val="902044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lt1">
                    <a:lumMod val="85000"/>
                  </a:schemeClr>
                </a:solidFill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defRPr>
            </a:pPr>
            <a:endParaRPr lang="en-US"/>
          </a:p>
        </c:txPr>
        <c:crossAx val="406829328"/>
        <c:crosses val="autoZero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chemeClr val="lt1">
                        <a:lumMod val="85000"/>
                      </a:schemeClr>
                    </a:solidFill>
                    <a:latin typeface="Sharp Sans No2 Semibold" pitchFamily="2" charset="77"/>
                    <a:ea typeface="Sharp Sans No2 Semibold" pitchFamily="2" charset="77"/>
                    <a:cs typeface="Sharp Sans No2 Semibold" pitchFamily="2" charset="77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lt1">
                  <a:lumMod val="85000"/>
                </a:schemeClr>
              </a:solidFill>
              <a:latin typeface="Sharp Sans No2 Semibold" pitchFamily="2" charset="77"/>
              <a:ea typeface="Sharp Sans No2 Semibold" pitchFamily="2" charset="77"/>
              <a:cs typeface="Sharp Sans No2 Semibold" pitchFamily="2" charset="77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20000">
          <a:schemeClr val="accent1">
            <a:lumMod val="60000"/>
            <a:lumOff val="40000"/>
          </a:schemeClr>
        </a:gs>
        <a:gs pos="100000">
          <a:schemeClr val="accent1">
            <a:lumMod val="50000"/>
          </a:schemeClr>
        </a:gs>
      </a:gsLst>
      <a:lin ang="0" scaled="1"/>
      <a:tileRect/>
    </a:gradFill>
    <a:ln>
      <a:noFill/>
    </a:ln>
    <a:effectLst/>
  </c:spPr>
  <c:txPr>
    <a:bodyPr/>
    <a:lstStyle/>
    <a:p>
      <a:pPr>
        <a:defRPr b="1" i="0">
          <a:latin typeface="Sharp Sans No2 Semibold" pitchFamily="2" charset="77"/>
          <a:ea typeface="Sharp Sans No2 Semibold" pitchFamily="2" charset="77"/>
          <a:cs typeface="Sharp Sans No2 Semibold" pitchFamily="2" charset="77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Maximizing</a:t>
            </a:r>
            <a:r>
              <a:rPr lang="en-US" baseline="0" dirty="0"/>
              <a:t> </a:t>
            </a:r>
            <a:r>
              <a:rPr lang="en-US" baseline="0" dirty="0" err="1"/>
              <a:t>dno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NO Breakdown</c:v>
                </c:pt>
              </c:strCache>
            </c:strRef>
          </c:tx>
          <c:dPt>
            <c:idx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2-BEB3-DA4A-88E0-5DC685F6FBD5}"/>
              </c:ext>
            </c:extLst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BEB3-DA4A-88E0-5DC685F6FBD5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BEB3-DA4A-88E0-5DC685F6FBD5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4-BEB3-DA4A-88E0-5DC685F6FBD5}"/>
              </c:ext>
            </c:extLst>
          </c:dPt>
          <c:dPt>
            <c:idx val="4"/>
            <c:bubble3D val="0"/>
            <c:explosion val="11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BEB3-DA4A-88E0-5DC685F6FBD5}"/>
              </c:ext>
            </c:extLst>
          </c:dPt>
          <c:dLbls>
            <c:dLbl>
              <c:idx val="0"/>
              <c:layout>
                <c:manualLayout>
                  <c:x val="2.2261025643890847E-2"/>
                  <c:y val="-3.98437475489820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6DC6E41-7E96-F045-936E-BD53158E80C8}" type="CATEGORYNAME">
                      <a:rPr lang="en-U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
</a:t>
                    </a:r>
                    <a:fld id="{A256CF0F-3646-D348-A1B0-1514652EB945}" type="PERCENTAGE">
                      <a:rPr lang="en-US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defRPr>
                      </a:pPr>
                      <a:t>[PERCENTAGE]</a:t>
                    </a:fld>
                    <a:endParaRPr lang="en-US" baseline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649146187782924"/>
                      <c:h val="0.1239258659002297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EB3-DA4A-88E0-5DC685F6FBD5}"/>
                </c:ext>
              </c:extLst>
            </c:dLbl>
            <c:dLbl>
              <c:idx val="1"/>
              <c:layout>
                <c:manualLayout>
                  <c:x val="2.0869711541147678E-2"/>
                  <c:y val="3.749999769315959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9C721D8-A438-814A-92DE-C1C4439557AF}" type="CATEGORYNAME">
                      <a:rPr lang="en-U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
</a:t>
                    </a:r>
                    <a:fld id="{35A1D5D2-91F9-1D40-B4C3-CA49B5C0F365}" type="PERCENTAGE">
                      <a:rPr lang="en-US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defRPr>
                      </a:pPr>
                      <a:t>[PERCENTAGE]</a:t>
                    </a:fld>
                    <a:endParaRPr lang="en-US" baseline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EB3-DA4A-88E0-5DC685F6FBD5}"/>
                </c:ext>
              </c:extLst>
            </c:dLbl>
            <c:dLbl>
              <c:idx val="2"/>
              <c:layout>
                <c:manualLayout>
                  <c:x val="3.2000224363093105E-2"/>
                  <c:y val="9.609374408872145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AAA4C95-2B10-C942-8486-E946A9BD9518}" type="CATEGORYNAME">
                      <a:rPr lang="en-U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
</a:t>
                    </a:r>
                    <a:fld id="{08DD7391-6B9B-B940-A563-1DC8AE1D9925}" type="PERCENTAGE">
                      <a:rPr lang="en-US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defRPr>
                      </a:pPr>
                      <a:t>[PERCENTAGE]</a:t>
                    </a:fld>
                    <a:endParaRPr lang="en-US" baseline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EB3-DA4A-88E0-5DC685F6FBD5}"/>
                </c:ext>
              </c:extLst>
            </c:dLbl>
            <c:dLbl>
              <c:idx val="3"/>
              <c:layout>
                <c:manualLayout>
                  <c:x val="0"/>
                  <c:y val="7.0312495674674236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D26BF3B-651B-1B4C-BDBA-38ACBCB6F0ED}" type="CATEGORYNAME">
                      <a:rPr lang="en-U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
</a:t>
                    </a:r>
                    <a:fld id="{D354AEBB-49B4-A84B-864A-DC90526905A5}" type="PERCENTAGE">
                      <a:rPr lang="en-US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defRPr>
                      </a:pPr>
                      <a:t>[PERCENTAGE]</a:t>
                    </a:fld>
                    <a:endParaRPr lang="en-US" baseline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EB3-DA4A-88E0-5DC685F6FBD5}"/>
                </c:ext>
              </c:extLst>
            </c:dLbl>
            <c:dLbl>
              <c:idx val="4"/>
              <c:layout>
                <c:manualLayout>
                  <c:x val="-5.14786218014976E-2"/>
                  <c:y val="-6.796874581885177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5008EDA-0491-3643-B379-517808991C72}" type="CATEGORYNAME">
                      <a:rPr lang="en-U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
</a:t>
                    </a:r>
                    <a:fld id="{AA2DEC50-C60F-DC4F-89F4-BD8CA250ED60}" type="PERCENTAGE">
                      <a:rPr lang="en-US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defRPr>
                      </a:pPr>
                      <a:t>[PERCENTAGE]</a:t>
                    </a:fld>
                    <a:endParaRPr lang="en-US" baseline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EB3-DA4A-88E0-5DC685F6FBD5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Invalid Numbers DNO (Auto)</c:v>
                </c:pt>
                <c:pt idx="1">
                  <c:v>Unassigned Numbers DNO (Auto)</c:v>
                </c:pt>
                <c:pt idx="2">
                  <c:v>*Unallocated Numbers DNO (Auto)</c:v>
                </c:pt>
                <c:pt idx="3">
                  <c:v>*Assigned Numbers DNO (Manual)</c:v>
                </c:pt>
                <c:pt idx="4">
                  <c:v>*Assigned Number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200000000</c:v>
                </c:pt>
                <c:pt idx="1">
                  <c:v>3210000000</c:v>
                </c:pt>
                <c:pt idx="2">
                  <c:v>1600000000</c:v>
                </c:pt>
                <c:pt idx="3">
                  <c:v>254000000</c:v>
                </c:pt>
                <c:pt idx="4">
                  <c:v>2736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B3-DA4A-88E0-5DC685F6FBD5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FF7E7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2965519409943754E-2"/>
                  <c:y val="6.144266536497199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58630438338056"/>
                      <c:h val="0.2420397387773584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FD8-FC48-A243-1ED5D89F9CA3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311909158159551"/>
                      <c:h val="0.2420397387773584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DFD8-FC48-A243-1ED5D89F9CA3}"/>
                </c:ext>
              </c:extLst>
            </c:dLbl>
            <c:dLbl>
              <c:idx val="2"/>
              <c:layout>
                <c:manualLayout>
                  <c:x val="-2.0744790219306898E-2"/>
                  <c:y val="-2.4189073414148157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08984644824665"/>
                      <c:h val="0.2420397387773584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FD8-FC48-A243-1ED5D89F9CA3}"/>
                </c:ext>
              </c:extLst>
            </c:dLbl>
            <c:dLbl>
              <c:idx val="3"/>
              <c:layout>
                <c:manualLayout>
                  <c:x val="-0.11669059351306475"/>
                  <c:y val="2.4189073408868193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018367691549701"/>
                      <c:h val="0.2941759000391378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A3E-B540-8BD4-22E02632209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  <c:pt idx="3">
                  <c:v>2020</c:v>
                </c:pt>
              </c:numCache>
            </c:numRef>
          </c:cat>
          <c:val>
            <c:numRef>
              <c:f>Sheet1!$B$2:$B$5</c:f>
              <c:numCache>
                <c:formatCode>#,##0.0</c:formatCode>
                <c:ptCount val="4"/>
                <c:pt idx="0">
                  <c:v>160.5</c:v>
                </c:pt>
                <c:pt idx="1">
                  <c:v>225.7</c:v>
                </c:pt>
                <c:pt idx="2">
                  <c:v>87.9</c:v>
                </c:pt>
                <c:pt idx="3" formatCode="_(* #,##0.0_);_(* \(#,##0.0\);_(* &quot;-&quot;??_);_(@_)">
                  <c:v>5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D8-FC48-A243-1ED5D89F9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476797232"/>
        <c:axId val="1683424368"/>
      </c:barChart>
      <c:catAx>
        <c:axId val="14767972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3424368"/>
        <c:crosses val="autoZero"/>
        <c:auto val="1"/>
        <c:lblAlgn val="ctr"/>
        <c:lblOffset val="100"/>
        <c:noMultiLvlLbl val="0"/>
      </c:catAx>
      <c:valAx>
        <c:axId val="168342436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crossAx val="1476797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FF7E79">
                <a:alpha val="83137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6520535038220892E-3"/>
                  <c:y val="-1.89252982997975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205081000396346"/>
                      <c:h val="0.2420398558717552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A9C-8C40-BA08-F43479243981}"/>
                </c:ext>
              </c:extLst>
            </c:dLbl>
            <c:dLbl>
              <c:idx val="1"/>
              <c:layout>
                <c:manualLayout>
                  <c:x val="-1.3260163107555178E-2"/>
                  <c:y val="2.4189085105115345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353202573870128"/>
                      <c:h val="0.2420398558717552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A9C-8C40-BA08-F43479243981}"/>
                </c:ext>
              </c:extLst>
            </c:dLbl>
            <c:dLbl>
              <c:idx val="2"/>
              <c:layout>
                <c:manualLayout>
                  <c:x val="-5.3040025960890075E-3"/>
                  <c:y val="2.4189085105115345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353202573870128"/>
                      <c:h val="0.2420398558717552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4A9C-8C40-BA08-F434792439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  <c:pt idx="3">
                  <c:v>2020</c:v>
                </c:pt>
              </c:numCache>
            </c:numRef>
          </c:cat>
          <c:val>
            <c:numRef>
              <c:f>Sheet1!$B$2:$B$5</c:f>
              <c:numCache>
                <c:formatCode>_(* #,##0.0_);_(* \(#,##0.0\);_(* "-"??_);_(@_)</c:formatCode>
                <c:ptCount val="4"/>
                <c:pt idx="0">
                  <c:v>59.7</c:v>
                </c:pt>
                <c:pt idx="1">
                  <c:v>78.2</c:v>
                </c:pt>
                <c:pt idx="2">
                  <c:v>72.2</c:v>
                </c:pt>
                <c:pt idx="3">
                  <c:v>5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9C-8C40-BA08-F434792439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476797232"/>
        <c:axId val="1683424368"/>
      </c:barChart>
      <c:catAx>
        <c:axId val="14767972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3424368"/>
        <c:crosses val="autoZero"/>
        <c:auto val="1"/>
        <c:lblAlgn val="ctr"/>
        <c:lblOffset val="100"/>
        <c:noMultiLvlLbl val="0"/>
      </c:catAx>
      <c:valAx>
        <c:axId val="168342436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_);_(* \(#,##0.0\);_(* &quot;-&quot;??_);_(@_)" sourceLinked="1"/>
        <c:majorTickMark val="none"/>
        <c:minorTickMark val="none"/>
        <c:tickLblPos val="nextTo"/>
        <c:crossAx val="1476797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8EA015-4183-CF46-9F6F-E3C2880F9BC8}" type="datetimeFigureOut">
              <a:rPr lang="en-US" smtClean="0"/>
              <a:t>6/28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196227-0B4F-A34F-9B3D-CC7B7DB30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139301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50AF23-3111-B44C-9C69-8377B646A0C1}" type="datetimeFigureOut">
              <a:rPr lang="en-US" smtClean="0"/>
              <a:t>6/28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EEE5C9-40ED-874B-95AF-F31254B86A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57250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EEE5C9-40ED-874B-95AF-F31254B86A6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5812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EEE5C9-40ED-874B-95AF-F31254B86A6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5421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EEE5C9-40ED-874B-95AF-F31254B86A6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608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EEE5C9-40ED-874B-95AF-F31254B86A6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1867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EEE5C9-40ED-874B-95AF-F31254B86A6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3748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EEE5C9-40ED-874B-95AF-F31254B86A6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059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2B758F-2C5D-A841-B042-A0355824C54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511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4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41.emf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Relationship Id="rId4" Type="http://schemas.openxmlformats.org/officeDocument/2006/relationships/image" Target="NUL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4" Type="http://schemas.openxmlformats.org/officeDocument/2006/relationships/image" Target="NUL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_Somo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11224" y="1124939"/>
            <a:ext cx="3103214" cy="1236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89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4" userDrawn="1">
          <p15:clr>
            <a:srgbClr val="FBAE40"/>
          </p15:clr>
        </p15:guide>
        <p15:guide id="2" pos="60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._Reporting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1850" y="1538112"/>
            <a:ext cx="5793146" cy="5669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01AAEA3-6EA6-40F0-B2E9-CCD07AADAB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397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48" userDrawn="1">
          <p15:clr>
            <a:srgbClr val="FBAE40"/>
          </p15:clr>
        </p15:guide>
        <p15:guide id="2" orient="horz" pos="960" userDrawn="1">
          <p15:clr>
            <a:srgbClr val="FBAE40"/>
          </p15:clr>
        </p15:guide>
        <p15:guide id="3" pos="600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30820" y="1300159"/>
            <a:ext cx="4696881" cy="4229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64302" y="1300155"/>
            <a:ext cx="4696881" cy="4229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8028652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30820" y="1300160"/>
            <a:ext cx="4696881" cy="42576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464302" y="1300155"/>
            <a:ext cx="4696884" cy="4257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12165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Header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017381" y="1239596"/>
            <a:ext cx="10143803" cy="298678"/>
          </a:xfrm>
        </p:spPr>
        <p:txBody>
          <a:bodyPr/>
          <a:lstStyle>
            <a:lvl1pPr marL="0" indent="0">
              <a:buNone/>
              <a:defRPr sz="1500" b="0" i="1" baseline="0">
                <a:solidFill>
                  <a:srgbClr val="3F3F3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017381" y="1684341"/>
            <a:ext cx="4696881" cy="687387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  <a:lvl2pPr marL="171450" indent="-171450">
              <a:buFont typeface="Arial" panose="020B0604020202020204" pitchFamily="34" charset="0"/>
              <a:buChar char="•"/>
              <a:defRPr/>
            </a:lvl2pPr>
            <a:lvl3pPr marL="345281" indent="-133350">
              <a:buFont typeface="Arial" panose="020B0604020202020204" pitchFamily="34" charset="0"/>
              <a:buChar char="–"/>
              <a:defRPr/>
            </a:lvl3pPr>
            <a:lvl4pPr marL="516731" indent="-171450">
              <a:buFont typeface="Arial" panose="020B0604020202020204" pitchFamily="34" charset="0"/>
              <a:buChar char="•"/>
              <a:defRPr/>
            </a:lvl4pPr>
            <a:lvl5pPr marL="641747" indent="-126206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6446632" y="1684341"/>
            <a:ext cx="4696881" cy="687387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  <a:lvl2pPr marL="171450" indent="-171450">
              <a:buFont typeface="Arial" panose="020B0604020202020204" pitchFamily="34" charset="0"/>
              <a:buChar char="•"/>
              <a:defRPr/>
            </a:lvl2pPr>
            <a:lvl3pPr marL="345281" indent="-133350">
              <a:buFont typeface="Arial" panose="020B0604020202020204" pitchFamily="34" charset="0"/>
              <a:buChar char="–"/>
              <a:defRPr/>
            </a:lvl3pPr>
            <a:lvl4pPr marL="516731" indent="-171450">
              <a:buFont typeface="Arial" panose="020B0604020202020204" pitchFamily="34" charset="0"/>
              <a:buChar char="•"/>
              <a:defRPr/>
            </a:lvl4pPr>
            <a:lvl5pPr marL="641747" indent="-126206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11770" y="2371728"/>
            <a:ext cx="4696881" cy="3186113"/>
          </a:xfrm>
        </p:spPr>
        <p:txBody>
          <a:bodyPr/>
          <a:lstStyle>
            <a:lvl1pPr>
              <a:defRPr sz="1500" b="1" i="0"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45252" y="2371728"/>
            <a:ext cx="4696881" cy="3186113"/>
          </a:xfrm>
        </p:spPr>
        <p:txBody>
          <a:bodyPr/>
          <a:lstStyle>
            <a:lvl1pPr>
              <a:defRPr sz="1500"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7326720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017379" y="1282460"/>
            <a:ext cx="10139572" cy="298678"/>
          </a:xfrm>
        </p:spPr>
        <p:txBody>
          <a:bodyPr/>
          <a:lstStyle>
            <a:lvl1pPr marL="0" indent="0">
              <a:buNone/>
              <a:defRPr sz="1500" b="1" i="0" baseline="0">
                <a:solidFill>
                  <a:schemeClr val="bg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11770" y="1938867"/>
            <a:ext cx="4696881" cy="3618971"/>
          </a:xfrm>
        </p:spPr>
        <p:txBody>
          <a:bodyPr/>
          <a:lstStyle>
            <a:lvl1pPr>
              <a:defRPr sz="1500" b="1" i="0"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45252" y="1938867"/>
            <a:ext cx="4696881" cy="3618971"/>
          </a:xfrm>
        </p:spPr>
        <p:txBody>
          <a:bodyPr/>
          <a:lstStyle>
            <a:lvl1pPr>
              <a:defRPr sz="1500"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159767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036431" y="1441445"/>
            <a:ext cx="3169920" cy="687387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  <a:lvl2pPr marL="171450" indent="-171450">
              <a:buFont typeface="Arial" panose="020B0604020202020204" pitchFamily="34" charset="0"/>
              <a:buChar char="•"/>
              <a:defRPr/>
            </a:lvl2pPr>
            <a:lvl3pPr marL="345281" indent="-133350">
              <a:buFont typeface="Arial" panose="020B0604020202020204" pitchFamily="34" charset="0"/>
              <a:buChar char="–"/>
              <a:defRPr/>
            </a:lvl3pPr>
            <a:lvl4pPr marL="516731" indent="-171450">
              <a:buFont typeface="Arial" panose="020B0604020202020204" pitchFamily="34" charset="0"/>
              <a:buChar char="•"/>
              <a:defRPr/>
            </a:lvl4pPr>
            <a:lvl5pPr marL="641747" indent="-126206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508957" y="1441445"/>
            <a:ext cx="3169920" cy="687387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  <a:lvl2pPr marL="171450" indent="-171450">
              <a:buFont typeface="Arial" panose="020B0604020202020204" pitchFamily="34" charset="0"/>
              <a:buChar char="•"/>
              <a:defRPr/>
            </a:lvl2pPr>
            <a:lvl3pPr marL="345281" indent="-133350">
              <a:buFont typeface="Arial" panose="020B0604020202020204" pitchFamily="34" charset="0"/>
              <a:buChar char="–"/>
              <a:defRPr/>
            </a:lvl3pPr>
            <a:lvl4pPr marL="516731" indent="-171450">
              <a:buFont typeface="Arial" panose="020B0604020202020204" pitchFamily="34" charset="0"/>
              <a:buChar char="•"/>
              <a:defRPr/>
            </a:lvl4pPr>
            <a:lvl5pPr marL="641747" indent="-126206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7981484" y="1441445"/>
            <a:ext cx="3169920" cy="687387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  <a:lvl2pPr marL="171450" indent="-171450">
              <a:buFont typeface="Arial" panose="020B0604020202020204" pitchFamily="34" charset="0"/>
              <a:buChar char="•"/>
              <a:defRPr/>
            </a:lvl2pPr>
            <a:lvl3pPr marL="345281" indent="-133350">
              <a:buFont typeface="Arial" panose="020B0604020202020204" pitchFamily="34" charset="0"/>
              <a:buChar char="–"/>
              <a:defRPr/>
            </a:lvl3pPr>
            <a:lvl4pPr marL="516731" indent="-171450">
              <a:buFont typeface="Arial" panose="020B0604020202020204" pitchFamily="34" charset="0"/>
              <a:buChar char="•"/>
              <a:defRPr/>
            </a:lvl4pPr>
            <a:lvl5pPr marL="641747" indent="-126206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11770" y="2371728"/>
            <a:ext cx="3194583" cy="3186113"/>
          </a:xfrm>
        </p:spPr>
        <p:txBody>
          <a:bodyPr/>
          <a:lstStyle>
            <a:lvl1pPr>
              <a:defRPr sz="1500" b="1" i="0"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08959" y="2371724"/>
            <a:ext cx="3169920" cy="3186113"/>
          </a:xfrm>
        </p:spPr>
        <p:txBody>
          <a:bodyPr/>
          <a:lstStyle>
            <a:lvl1pPr>
              <a:defRPr sz="1500"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7981484" y="2371723"/>
            <a:ext cx="3169920" cy="3186113"/>
          </a:xfrm>
        </p:spPr>
        <p:txBody>
          <a:bodyPr/>
          <a:lstStyle>
            <a:lvl1pPr>
              <a:defRPr sz="1500"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102053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30820" y="1360497"/>
            <a:ext cx="10126133" cy="29867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his is a subhead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394223" y="1999192"/>
            <a:ext cx="3762728" cy="3186113"/>
          </a:xfrm>
        </p:spPr>
        <p:txBody>
          <a:bodyPr/>
          <a:lstStyle>
            <a:lvl1pPr>
              <a:defRPr sz="1500"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4661894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911023" y="1438274"/>
            <a:ext cx="8245929" cy="1204917"/>
          </a:xfrm>
        </p:spPr>
        <p:txBody>
          <a:bodyPr/>
          <a:lstStyle>
            <a:lvl1pPr>
              <a:spcAft>
                <a:spcPts val="225"/>
              </a:spcAft>
              <a:defRPr sz="150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35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96652" y="1438274"/>
            <a:ext cx="1721757" cy="1204917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96652" y="2826310"/>
            <a:ext cx="1721757" cy="1188481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5704" y="4206982"/>
            <a:ext cx="1721757" cy="1188481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2911022" y="2818091"/>
            <a:ext cx="8245929" cy="1204917"/>
          </a:xfrm>
        </p:spPr>
        <p:txBody>
          <a:bodyPr/>
          <a:lstStyle>
            <a:lvl1pPr>
              <a:spcAft>
                <a:spcPts val="225"/>
              </a:spcAft>
              <a:defRPr sz="150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35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2911022" y="4206982"/>
            <a:ext cx="8245929" cy="1204917"/>
          </a:xfrm>
        </p:spPr>
        <p:txBody>
          <a:bodyPr/>
          <a:lstStyle>
            <a:lvl1pPr>
              <a:spcAft>
                <a:spcPts val="225"/>
              </a:spcAft>
              <a:defRPr sz="150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35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3482437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hot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96653" y="1395407"/>
            <a:ext cx="1383691" cy="1276356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464301" y="1395407"/>
            <a:ext cx="1383691" cy="1276355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96653" y="2824158"/>
            <a:ext cx="1383691" cy="1276356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6464301" y="2824161"/>
            <a:ext cx="1383691" cy="1276355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996653" y="4252913"/>
            <a:ext cx="1383691" cy="1276356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464301" y="4252916"/>
            <a:ext cx="1383691" cy="1276355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2561065" y="1395407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9"/>
          </p:nvPr>
        </p:nvSpPr>
        <p:spPr>
          <a:xfrm>
            <a:off x="2561065" y="2824161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30"/>
          </p:nvPr>
        </p:nvSpPr>
        <p:spPr>
          <a:xfrm>
            <a:off x="2561065" y="4252916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1"/>
          </p:nvPr>
        </p:nvSpPr>
        <p:spPr>
          <a:xfrm>
            <a:off x="8013600" y="1395407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8013600" y="2824161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33"/>
          </p:nvPr>
        </p:nvSpPr>
        <p:spPr>
          <a:xfrm>
            <a:off x="8013600" y="4252912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4027622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3" name="Group 1172"/>
          <p:cNvGrpSpPr/>
          <p:nvPr userDrawn="1"/>
        </p:nvGrpSpPr>
        <p:grpSpPr>
          <a:xfrm>
            <a:off x="-268817" y="2910736"/>
            <a:ext cx="12926484" cy="4275082"/>
            <a:chOff x="-201613" y="2910736"/>
            <a:chExt cx="9694863" cy="4275082"/>
          </a:xfrm>
        </p:grpSpPr>
        <p:grpSp>
          <p:nvGrpSpPr>
            <p:cNvPr id="1170" name="Group 1169"/>
            <p:cNvGrpSpPr/>
            <p:nvPr userDrawn="1"/>
          </p:nvGrpSpPr>
          <p:grpSpPr>
            <a:xfrm>
              <a:off x="-201613" y="3290888"/>
              <a:ext cx="9694863" cy="3894930"/>
              <a:chOff x="-201613" y="3290888"/>
              <a:chExt cx="9694863" cy="3894930"/>
            </a:xfrm>
          </p:grpSpPr>
          <p:sp>
            <p:nvSpPr>
              <p:cNvPr id="970" name="Freeform 5"/>
              <p:cNvSpPr>
                <a:spLocks/>
              </p:cNvSpPr>
              <p:nvPr userDrawn="1"/>
            </p:nvSpPr>
            <p:spPr bwMode="auto">
              <a:xfrm>
                <a:off x="3676650" y="32908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1" name="Freeform 6"/>
              <p:cNvSpPr>
                <a:spLocks/>
              </p:cNvSpPr>
              <p:nvPr userDrawn="1"/>
            </p:nvSpPr>
            <p:spPr bwMode="auto">
              <a:xfrm>
                <a:off x="3676650" y="33385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2" name="Freeform 7"/>
              <p:cNvSpPr>
                <a:spLocks/>
              </p:cNvSpPr>
              <p:nvPr userDrawn="1"/>
            </p:nvSpPr>
            <p:spPr bwMode="auto">
              <a:xfrm>
                <a:off x="3676650" y="3387726"/>
                <a:ext cx="874713" cy="874713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7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3" name="Freeform 8"/>
              <p:cNvSpPr>
                <a:spLocks/>
              </p:cNvSpPr>
              <p:nvPr userDrawn="1"/>
            </p:nvSpPr>
            <p:spPr bwMode="auto">
              <a:xfrm>
                <a:off x="3676650" y="3435351"/>
                <a:ext cx="827088" cy="827088"/>
              </a:xfrm>
              <a:custGeom>
                <a:avLst/>
                <a:gdLst>
                  <a:gd name="T0" fmla="*/ 225 w 225"/>
                  <a:gd name="T1" fmla="*/ 225 h 225"/>
                  <a:gd name="T2" fmla="*/ 0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225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4" name="Freeform 9"/>
              <p:cNvSpPr>
                <a:spLocks/>
              </p:cNvSpPr>
              <p:nvPr userDrawn="1"/>
            </p:nvSpPr>
            <p:spPr bwMode="auto">
              <a:xfrm>
                <a:off x="3676650" y="3482976"/>
                <a:ext cx="782638" cy="779463"/>
              </a:xfrm>
              <a:custGeom>
                <a:avLst/>
                <a:gdLst>
                  <a:gd name="T0" fmla="*/ 213 w 213"/>
                  <a:gd name="T1" fmla="*/ 212 h 212"/>
                  <a:gd name="T2" fmla="*/ 0 w 213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213" y="212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5" name="Freeform 10"/>
              <p:cNvSpPr>
                <a:spLocks/>
              </p:cNvSpPr>
              <p:nvPr userDrawn="1"/>
            </p:nvSpPr>
            <p:spPr bwMode="auto">
              <a:xfrm>
                <a:off x="3676650" y="3530601"/>
                <a:ext cx="735013" cy="731838"/>
              </a:xfrm>
              <a:custGeom>
                <a:avLst/>
                <a:gdLst>
                  <a:gd name="T0" fmla="*/ 200 w 200"/>
                  <a:gd name="T1" fmla="*/ 199 h 199"/>
                  <a:gd name="T2" fmla="*/ 0 w 200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200" y="199"/>
                    </a:moveTo>
                    <a:cubicBezTo>
                      <a:pt x="200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6" name="Freeform 11"/>
              <p:cNvSpPr>
                <a:spLocks/>
              </p:cNvSpPr>
              <p:nvPr userDrawn="1"/>
            </p:nvSpPr>
            <p:spPr bwMode="auto">
              <a:xfrm>
                <a:off x="3676650" y="3578226"/>
                <a:ext cx="687388" cy="684213"/>
              </a:xfrm>
              <a:custGeom>
                <a:avLst/>
                <a:gdLst>
                  <a:gd name="T0" fmla="*/ 187 w 187"/>
                  <a:gd name="T1" fmla="*/ 186 h 186"/>
                  <a:gd name="T2" fmla="*/ 0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186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7" name="Freeform 12"/>
              <p:cNvSpPr>
                <a:spLocks/>
              </p:cNvSpPr>
              <p:nvPr userDrawn="1"/>
            </p:nvSpPr>
            <p:spPr bwMode="auto">
              <a:xfrm>
                <a:off x="3676650" y="3622676"/>
                <a:ext cx="639763" cy="639763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8" name="Freeform 13"/>
              <p:cNvSpPr>
                <a:spLocks/>
              </p:cNvSpPr>
              <p:nvPr userDrawn="1"/>
            </p:nvSpPr>
            <p:spPr bwMode="auto">
              <a:xfrm>
                <a:off x="3676650" y="3670301"/>
                <a:ext cx="590550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9" name="Freeform 14"/>
              <p:cNvSpPr>
                <a:spLocks/>
              </p:cNvSpPr>
              <p:nvPr userDrawn="1"/>
            </p:nvSpPr>
            <p:spPr bwMode="auto">
              <a:xfrm>
                <a:off x="3676650" y="3717926"/>
                <a:ext cx="542925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0" name="Freeform 15"/>
              <p:cNvSpPr>
                <a:spLocks/>
              </p:cNvSpPr>
              <p:nvPr userDrawn="1"/>
            </p:nvSpPr>
            <p:spPr bwMode="auto">
              <a:xfrm>
                <a:off x="3676650" y="3765551"/>
                <a:ext cx="495300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1" name="Freeform 16"/>
              <p:cNvSpPr>
                <a:spLocks/>
              </p:cNvSpPr>
              <p:nvPr userDrawn="1"/>
            </p:nvSpPr>
            <p:spPr bwMode="auto">
              <a:xfrm>
                <a:off x="3676650" y="3813176"/>
                <a:ext cx="447675" cy="449263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2" name="Freeform 17"/>
              <p:cNvSpPr>
                <a:spLocks/>
              </p:cNvSpPr>
              <p:nvPr userDrawn="1"/>
            </p:nvSpPr>
            <p:spPr bwMode="auto">
              <a:xfrm>
                <a:off x="3676650" y="3862388"/>
                <a:ext cx="403225" cy="400050"/>
              </a:xfrm>
              <a:custGeom>
                <a:avLst/>
                <a:gdLst>
                  <a:gd name="T0" fmla="*/ 110 w 110"/>
                  <a:gd name="T1" fmla="*/ 109 h 109"/>
                  <a:gd name="T2" fmla="*/ 0 w 110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110" y="109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3" name="Freeform 18"/>
              <p:cNvSpPr>
                <a:spLocks/>
              </p:cNvSpPr>
              <p:nvPr userDrawn="1"/>
            </p:nvSpPr>
            <p:spPr bwMode="auto">
              <a:xfrm>
                <a:off x="3676650" y="3910013"/>
                <a:ext cx="355600" cy="352425"/>
              </a:xfrm>
              <a:custGeom>
                <a:avLst/>
                <a:gdLst>
                  <a:gd name="T0" fmla="*/ 97 w 97"/>
                  <a:gd name="T1" fmla="*/ 96 h 96"/>
                  <a:gd name="T2" fmla="*/ 0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97" y="96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4" name="Freeform 19"/>
              <p:cNvSpPr>
                <a:spLocks/>
              </p:cNvSpPr>
              <p:nvPr userDrawn="1"/>
            </p:nvSpPr>
            <p:spPr bwMode="auto">
              <a:xfrm>
                <a:off x="3676650" y="3952876"/>
                <a:ext cx="307975" cy="309563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8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5" name="Freeform 20"/>
              <p:cNvSpPr>
                <a:spLocks/>
              </p:cNvSpPr>
              <p:nvPr userDrawn="1"/>
            </p:nvSpPr>
            <p:spPr bwMode="auto">
              <a:xfrm>
                <a:off x="3676650" y="4002088"/>
                <a:ext cx="260350" cy="260350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2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6" name="Freeform 21"/>
              <p:cNvSpPr>
                <a:spLocks/>
              </p:cNvSpPr>
              <p:nvPr userDrawn="1"/>
            </p:nvSpPr>
            <p:spPr bwMode="auto">
              <a:xfrm>
                <a:off x="3676650" y="4049713"/>
                <a:ext cx="212725" cy="212725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7" name="Freeform 22"/>
              <p:cNvSpPr>
                <a:spLocks/>
              </p:cNvSpPr>
              <p:nvPr userDrawn="1"/>
            </p:nvSpPr>
            <p:spPr bwMode="auto">
              <a:xfrm>
                <a:off x="3676650" y="4097338"/>
                <a:ext cx="165100" cy="165100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8" name="Freeform 23"/>
              <p:cNvSpPr>
                <a:spLocks/>
              </p:cNvSpPr>
              <p:nvPr userDrawn="1"/>
            </p:nvSpPr>
            <p:spPr bwMode="auto">
              <a:xfrm>
                <a:off x="3676650" y="4144963"/>
                <a:ext cx="117475" cy="117475"/>
              </a:xfrm>
              <a:custGeom>
                <a:avLst/>
                <a:gdLst>
                  <a:gd name="T0" fmla="*/ 32 w 32"/>
                  <a:gd name="T1" fmla="*/ 32 h 32"/>
                  <a:gd name="T2" fmla="*/ 0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32"/>
                    </a:moveTo>
                    <a:cubicBezTo>
                      <a:pt x="32" y="14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9" name="Freeform 24"/>
              <p:cNvSpPr>
                <a:spLocks/>
              </p:cNvSpPr>
              <p:nvPr userDrawn="1"/>
            </p:nvSpPr>
            <p:spPr bwMode="auto">
              <a:xfrm>
                <a:off x="3676650" y="4192588"/>
                <a:ext cx="73025" cy="69850"/>
              </a:xfrm>
              <a:custGeom>
                <a:avLst/>
                <a:gdLst>
                  <a:gd name="T0" fmla="*/ 20 w 20"/>
                  <a:gd name="T1" fmla="*/ 19 h 19"/>
                  <a:gd name="T2" fmla="*/ 0 w 20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20" y="19"/>
                    </a:moveTo>
                    <a:cubicBezTo>
                      <a:pt x="20" y="8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0" name="Freeform 25"/>
              <p:cNvSpPr>
                <a:spLocks/>
              </p:cNvSpPr>
              <p:nvPr userDrawn="1"/>
            </p:nvSpPr>
            <p:spPr bwMode="auto">
              <a:xfrm>
                <a:off x="3676650" y="4240213"/>
                <a:ext cx="25400" cy="22225"/>
              </a:xfrm>
              <a:custGeom>
                <a:avLst/>
                <a:gdLst>
                  <a:gd name="T0" fmla="*/ 7 w 7"/>
                  <a:gd name="T1" fmla="*/ 6 h 6"/>
                  <a:gd name="T2" fmla="*/ 0 w 7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1" name="Freeform 26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2" name="Freeform 27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3" name="Freeform 28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877888" cy="876300"/>
              </a:xfrm>
              <a:custGeom>
                <a:avLst/>
                <a:gdLst>
                  <a:gd name="T0" fmla="*/ 0 w 239"/>
                  <a:gd name="T1" fmla="*/ 238 h 238"/>
                  <a:gd name="T2" fmla="*/ 239 w 239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9" h="238">
                    <a:moveTo>
                      <a:pt x="0" y="238"/>
                    </a:moveTo>
                    <a:cubicBezTo>
                      <a:pt x="132" y="238"/>
                      <a:pt x="239" y="132"/>
                      <a:pt x="23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4" name="Freeform 29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830263" cy="828675"/>
              </a:xfrm>
              <a:custGeom>
                <a:avLst/>
                <a:gdLst>
                  <a:gd name="T0" fmla="*/ 0 w 226"/>
                  <a:gd name="T1" fmla="*/ 225 h 225"/>
                  <a:gd name="T2" fmla="*/ 226 w 226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6" h="225">
                    <a:moveTo>
                      <a:pt x="0" y="225"/>
                    </a:moveTo>
                    <a:cubicBezTo>
                      <a:pt x="125" y="225"/>
                      <a:pt x="226" y="125"/>
                      <a:pt x="22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5" name="Freeform 30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782638" cy="784225"/>
              </a:xfrm>
              <a:custGeom>
                <a:avLst/>
                <a:gdLst>
                  <a:gd name="T0" fmla="*/ 0 w 213"/>
                  <a:gd name="T1" fmla="*/ 213 h 213"/>
                  <a:gd name="T2" fmla="*/ 213 w 213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3">
                    <a:moveTo>
                      <a:pt x="0" y="213"/>
                    </a:moveTo>
                    <a:cubicBezTo>
                      <a:pt x="118" y="213"/>
                      <a:pt x="213" y="118"/>
                      <a:pt x="21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6" name="Freeform 31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735013" cy="736600"/>
              </a:xfrm>
              <a:custGeom>
                <a:avLst/>
                <a:gdLst>
                  <a:gd name="T0" fmla="*/ 0 w 200"/>
                  <a:gd name="T1" fmla="*/ 200 h 200"/>
                  <a:gd name="T2" fmla="*/ 200 w 200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0" y="200"/>
                    </a:moveTo>
                    <a:cubicBezTo>
                      <a:pt x="111" y="200"/>
                      <a:pt x="200" y="111"/>
                      <a:pt x="20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7" name="Freeform 32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685800" cy="688975"/>
              </a:xfrm>
              <a:custGeom>
                <a:avLst/>
                <a:gdLst>
                  <a:gd name="T0" fmla="*/ 0 w 187"/>
                  <a:gd name="T1" fmla="*/ 187 h 187"/>
                  <a:gd name="T2" fmla="*/ 187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187"/>
                    </a:moveTo>
                    <a:cubicBezTo>
                      <a:pt x="104" y="187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8" name="Freeform 33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638175" cy="641350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9" name="Freeform 34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590550" cy="592138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0" name="Freeform 35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542925" cy="544513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1" name="Freeform 36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498475" cy="496888"/>
              </a:xfrm>
              <a:custGeom>
                <a:avLst/>
                <a:gdLst>
                  <a:gd name="T0" fmla="*/ 0 w 136"/>
                  <a:gd name="T1" fmla="*/ 135 h 135"/>
                  <a:gd name="T2" fmla="*/ 136 w 136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6" h="135">
                    <a:moveTo>
                      <a:pt x="0" y="135"/>
                    </a:moveTo>
                    <a:cubicBezTo>
                      <a:pt x="75" y="135"/>
                      <a:pt x="136" y="75"/>
                      <a:pt x="13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2" name="Freeform 37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450850" cy="452438"/>
              </a:xfrm>
              <a:custGeom>
                <a:avLst/>
                <a:gdLst>
                  <a:gd name="T0" fmla="*/ 0 w 123"/>
                  <a:gd name="T1" fmla="*/ 123 h 123"/>
                  <a:gd name="T2" fmla="*/ 123 w 123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3" h="123">
                    <a:moveTo>
                      <a:pt x="0" y="123"/>
                    </a:moveTo>
                    <a:cubicBezTo>
                      <a:pt x="68" y="123"/>
                      <a:pt x="123" y="68"/>
                      <a:pt x="12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3" name="Freeform 38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403225" cy="404813"/>
              </a:xfrm>
              <a:custGeom>
                <a:avLst/>
                <a:gdLst>
                  <a:gd name="T0" fmla="*/ 0 w 110"/>
                  <a:gd name="T1" fmla="*/ 110 h 110"/>
                  <a:gd name="T2" fmla="*/ 110 w 110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10">
                    <a:moveTo>
                      <a:pt x="0" y="110"/>
                    </a:moveTo>
                    <a:cubicBezTo>
                      <a:pt x="61" y="110"/>
                      <a:pt x="110" y="61"/>
                      <a:pt x="11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4" name="Freeform 39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355600" cy="357188"/>
              </a:xfrm>
              <a:custGeom>
                <a:avLst/>
                <a:gdLst>
                  <a:gd name="T0" fmla="*/ 0 w 97"/>
                  <a:gd name="T1" fmla="*/ 97 h 97"/>
                  <a:gd name="T2" fmla="*/ 97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97"/>
                    </a:moveTo>
                    <a:cubicBezTo>
                      <a:pt x="54" y="97"/>
                      <a:pt x="97" y="54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5" name="Freeform 40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307975" cy="309563"/>
              </a:xfrm>
              <a:custGeom>
                <a:avLst/>
                <a:gdLst>
                  <a:gd name="T0" fmla="*/ 0 w 84"/>
                  <a:gd name="T1" fmla="*/ 84 h 84"/>
                  <a:gd name="T2" fmla="*/ 84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84"/>
                    </a:moveTo>
                    <a:cubicBezTo>
                      <a:pt x="47" y="84"/>
                      <a:pt x="84" y="47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6" name="Freeform 41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260350" cy="261938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40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7" name="Freeform 42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212725" cy="214313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8" name="Freeform 43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168275" cy="166688"/>
              </a:xfrm>
              <a:custGeom>
                <a:avLst/>
                <a:gdLst>
                  <a:gd name="T0" fmla="*/ 0 w 46"/>
                  <a:gd name="T1" fmla="*/ 45 h 45"/>
                  <a:gd name="T2" fmla="*/ 46 w 46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5">
                    <a:moveTo>
                      <a:pt x="0" y="45"/>
                    </a:moveTo>
                    <a:cubicBezTo>
                      <a:pt x="25" y="45"/>
                      <a:pt x="46" y="25"/>
                      <a:pt x="4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9" name="Freeform 44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120650" cy="117475"/>
              </a:xfrm>
              <a:custGeom>
                <a:avLst/>
                <a:gdLst>
                  <a:gd name="T0" fmla="*/ 0 w 33"/>
                  <a:gd name="T1" fmla="*/ 32 h 32"/>
                  <a:gd name="T2" fmla="*/ 33 w 33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3" h="32">
                    <a:moveTo>
                      <a:pt x="0" y="32"/>
                    </a:moveTo>
                    <a:cubicBezTo>
                      <a:pt x="18" y="32"/>
                      <a:pt x="33" y="18"/>
                      <a:pt x="3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0" name="Freeform 45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73025" cy="74613"/>
              </a:xfrm>
              <a:custGeom>
                <a:avLst/>
                <a:gdLst>
                  <a:gd name="T0" fmla="*/ 0 w 20"/>
                  <a:gd name="T1" fmla="*/ 20 h 20"/>
                  <a:gd name="T2" fmla="*/ 20 w 20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20">
                    <a:moveTo>
                      <a:pt x="0" y="20"/>
                    </a:moveTo>
                    <a:cubicBezTo>
                      <a:pt x="11" y="20"/>
                      <a:pt x="20" y="11"/>
                      <a:pt x="2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1" name="Freeform 46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25400" cy="26988"/>
              </a:xfrm>
              <a:custGeom>
                <a:avLst/>
                <a:gdLst>
                  <a:gd name="T0" fmla="*/ 0 w 7"/>
                  <a:gd name="T1" fmla="*/ 7 h 7"/>
                  <a:gd name="T2" fmla="*/ 7 w 7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0" y="7"/>
                    </a:moveTo>
                    <a:cubicBezTo>
                      <a:pt x="4" y="7"/>
                      <a:pt x="7" y="4"/>
                      <a:pt x="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2" name="Freeform 47"/>
              <p:cNvSpPr>
                <a:spLocks/>
              </p:cNvSpPr>
              <p:nvPr userDrawn="1"/>
            </p:nvSpPr>
            <p:spPr bwMode="auto">
              <a:xfrm>
                <a:off x="2706687" y="4262438"/>
                <a:ext cx="969963" cy="971550"/>
              </a:xfrm>
              <a:custGeom>
                <a:avLst/>
                <a:gdLst>
                  <a:gd name="T0" fmla="*/ 0 w 264"/>
                  <a:gd name="T1" fmla="*/ 0 h 264"/>
                  <a:gd name="T2" fmla="*/ 264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0"/>
                    </a:moveTo>
                    <a:cubicBezTo>
                      <a:pt x="0" y="146"/>
                      <a:pt x="118" y="264"/>
                      <a:pt x="264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3" name="Freeform 48"/>
              <p:cNvSpPr>
                <a:spLocks/>
              </p:cNvSpPr>
              <p:nvPr userDrawn="1"/>
            </p:nvSpPr>
            <p:spPr bwMode="auto">
              <a:xfrm>
                <a:off x="2754312" y="4262438"/>
                <a:ext cx="922338" cy="923925"/>
              </a:xfrm>
              <a:custGeom>
                <a:avLst/>
                <a:gdLst>
                  <a:gd name="T0" fmla="*/ 0 w 251"/>
                  <a:gd name="T1" fmla="*/ 0 h 251"/>
                  <a:gd name="T2" fmla="*/ 251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0"/>
                    </a:moveTo>
                    <a:cubicBezTo>
                      <a:pt x="0" y="139"/>
                      <a:pt x="113" y="251"/>
                      <a:pt x="251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4" name="Freeform 49"/>
              <p:cNvSpPr>
                <a:spLocks/>
              </p:cNvSpPr>
              <p:nvPr userDrawn="1"/>
            </p:nvSpPr>
            <p:spPr bwMode="auto">
              <a:xfrm>
                <a:off x="2801937" y="4262438"/>
                <a:ext cx="874713" cy="876300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2"/>
                      <a:pt x="107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5" name="Freeform 50"/>
              <p:cNvSpPr>
                <a:spLocks/>
              </p:cNvSpPr>
              <p:nvPr userDrawn="1"/>
            </p:nvSpPr>
            <p:spPr bwMode="auto">
              <a:xfrm>
                <a:off x="2849562" y="4262438"/>
                <a:ext cx="827088" cy="828675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5"/>
                      <a:pt x="101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6" name="Freeform 51"/>
              <p:cNvSpPr>
                <a:spLocks/>
              </p:cNvSpPr>
              <p:nvPr userDrawn="1"/>
            </p:nvSpPr>
            <p:spPr bwMode="auto">
              <a:xfrm>
                <a:off x="2897187" y="4262438"/>
                <a:ext cx="779463" cy="779463"/>
              </a:xfrm>
              <a:custGeom>
                <a:avLst/>
                <a:gdLst>
                  <a:gd name="T0" fmla="*/ 0 w 212"/>
                  <a:gd name="T1" fmla="*/ 0 h 212"/>
                  <a:gd name="T2" fmla="*/ 212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0"/>
                    </a:moveTo>
                    <a:cubicBezTo>
                      <a:pt x="0" y="117"/>
                      <a:pt x="95" y="212"/>
                      <a:pt x="212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7" name="Freeform 52"/>
              <p:cNvSpPr>
                <a:spLocks/>
              </p:cNvSpPr>
              <p:nvPr userDrawn="1"/>
            </p:nvSpPr>
            <p:spPr bwMode="auto">
              <a:xfrm>
                <a:off x="2944812" y="4262438"/>
                <a:ext cx="731838" cy="736600"/>
              </a:xfrm>
              <a:custGeom>
                <a:avLst/>
                <a:gdLst>
                  <a:gd name="T0" fmla="*/ 0 w 199"/>
                  <a:gd name="T1" fmla="*/ 0 h 200"/>
                  <a:gd name="T2" fmla="*/ 199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0"/>
                    </a:moveTo>
                    <a:cubicBezTo>
                      <a:pt x="0" y="110"/>
                      <a:pt x="89" y="200"/>
                      <a:pt x="199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8" name="Freeform 53"/>
              <p:cNvSpPr>
                <a:spLocks/>
              </p:cNvSpPr>
              <p:nvPr userDrawn="1"/>
            </p:nvSpPr>
            <p:spPr bwMode="auto">
              <a:xfrm>
                <a:off x="2992437" y="4262438"/>
                <a:ext cx="684213" cy="687388"/>
              </a:xfrm>
              <a:custGeom>
                <a:avLst/>
                <a:gdLst>
                  <a:gd name="T0" fmla="*/ 0 w 186"/>
                  <a:gd name="T1" fmla="*/ 0 h 187"/>
                  <a:gd name="T2" fmla="*/ 186 w 186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0" y="0"/>
                    </a:moveTo>
                    <a:cubicBezTo>
                      <a:pt x="0" y="103"/>
                      <a:pt x="83" y="187"/>
                      <a:pt x="186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9" name="Freeform 54"/>
              <p:cNvSpPr>
                <a:spLocks/>
              </p:cNvSpPr>
              <p:nvPr userDrawn="1"/>
            </p:nvSpPr>
            <p:spPr bwMode="auto">
              <a:xfrm>
                <a:off x="3040062" y="4262438"/>
                <a:ext cx="636588" cy="639763"/>
              </a:xfrm>
              <a:custGeom>
                <a:avLst/>
                <a:gdLst>
                  <a:gd name="T0" fmla="*/ 0 w 173"/>
                  <a:gd name="T1" fmla="*/ 0 h 174"/>
                  <a:gd name="T2" fmla="*/ 173 w 173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0" y="0"/>
                    </a:moveTo>
                    <a:cubicBezTo>
                      <a:pt x="0" y="96"/>
                      <a:pt x="77" y="174"/>
                      <a:pt x="173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0" name="Freeform 55"/>
              <p:cNvSpPr>
                <a:spLocks/>
              </p:cNvSpPr>
              <p:nvPr userDrawn="1"/>
            </p:nvSpPr>
            <p:spPr bwMode="auto">
              <a:xfrm>
                <a:off x="3084512" y="4262438"/>
                <a:ext cx="592138" cy="592138"/>
              </a:xfrm>
              <a:custGeom>
                <a:avLst/>
                <a:gdLst>
                  <a:gd name="T0" fmla="*/ 0 w 161"/>
                  <a:gd name="T1" fmla="*/ 0 h 161"/>
                  <a:gd name="T2" fmla="*/ 161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0"/>
                    </a:moveTo>
                    <a:cubicBezTo>
                      <a:pt x="0" y="89"/>
                      <a:pt x="72" y="161"/>
                      <a:pt x="161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1" name="Freeform 56"/>
              <p:cNvSpPr>
                <a:spLocks/>
              </p:cNvSpPr>
              <p:nvPr userDrawn="1"/>
            </p:nvSpPr>
            <p:spPr bwMode="auto">
              <a:xfrm>
                <a:off x="3132137" y="4262438"/>
                <a:ext cx="544513" cy="544513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2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2" name="Freeform 57"/>
              <p:cNvSpPr>
                <a:spLocks/>
              </p:cNvSpPr>
              <p:nvPr userDrawn="1"/>
            </p:nvSpPr>
            <p:spPr bwMode="auto">
              <a:xfrm>
                <a:off x="3179762" y="4262438"/>
                <a:ext cx="496888" cy="496888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5"/>
                      <a:pt x="61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3" name="Freeform 58"/>
              <p:cNvSpPr>
                <a:spLocks/>
              </p:cNvSpPr>
              <p:nvPr userDrawn="1"/>
            </p:nvSpPr>
            <p:spPr bwMode="auto">
              <a:xfrm>
                <a:off x="3227387" y="4262438"/>
                <a:ext cx="449263" cy="449263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8"/>
                      <a:pt x="55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4" name="Freeform 59"/>
              <p:cNvSpPr>
                <a:spLocks/>
              </p:cNvSpPr>
              <p:nvPr userDrawn="1"/>
            </p:nvSpPr>
            <p:spPr bwMode="auto">
              <a:xfrm>
                <a:off x="3275012" y="4262438"/>
                <a:ext cx="401638" cy="401638"/>
              </a:xfrm>
              <a:custGeom>
                <a:avLst/>
                <a:gdLst>
                  <a:gd name="T0" fmla="*/ 0 w 109"/>
                  <a:gd name="T1" fmla="*/ 0 h 109"/>
                  <a:gd name="T2" fmla="*/ 109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0"/>
                    </a:moveTo>
                    <a:cubicBezTo>
                      <a:pt x="0" y="61"/>
                      <a:pt x="49" y="109"/>
                      <a:pt x="109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5" name="Freeform 60"/>
              <p:cNvSpPr>
                <a:spLocks/>
              </p:cNvSpPr>
              <p:nvPr userDrawn="1"/>
            </p:nvSpPr>
            <p:spPr bwMode="auto">
              <a:xfrm>
                <a:off x="3322637" y="4262438"/>
                <a:ext cx="354013" cy="357188"/>
              </a:xfrm>
              <a:custGeom>
                <a:avLst/>
                <a:gdLst>
                  <a:gd name="T0" fmla="*/ 0 w 96"/>
                  <a:gd name="T1" fmla="*/ 0 h 97"/>
                  <a:gd name="T2" fmla="*/ 96 w 96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0" y="0"/>
                    </a:moveTo>
                    <a:cubicBezTo>
                      <a:pt x="0" y="53"/>
                      <a:pt x="43" y="97"/>
                      <a:pt x="96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6" name="Freeform 61"/>
              <p:cNvSpPr>
                <a:spLocks/>
              </p:cNvSpPr>
              <p:nvPr userDrawn="1"/>
            </p:nvSpPr>
            <p:spPr bwMode="auto">
              <a:xfrm>
                <a:off x="3371850" y="4262438"/>
                <a:ext cx="304800" cy="309563"/>
              </a:xfrm>
              <a:custGeom>
                <a:avLst/>
                <a:gdLst>
                  <a:gd name="T0" fmla="*/ 0 w 83"/>
                  <a:gd name="T1" fmla="*/ 0 h 84"/>
                  <a:gd name="T2" fmla="*/ 83 w 83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0" y="0"/>
                    </a:moveTo>
                    <a:cubicBezTo>
                      <a:pt x="0" y="46"/>
                      <a:pt x="37" y="84"/>
                      <a:pt x="83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7" name="Freeform 62"/>
              <p:cNvSpPr>
                <a:spLocks/>
              </p:cNvSpPr>
              <p:nvPr userDrawn="1"/>
            </p:nvSpPr>
            <p:spPr bwMode="auto">
              <a:xfrm>
                <a:off x="3414712" y="4262438"/>
                <a:ext cx="261938" cy="261938"/>
              </a:xfrm>
              <a:custGeom>
                <a:avLst/>
                <a:gdLst>
                  <a:gd name="T0" fmla="*/ 0 w 71"/>
                  <a:gd name="T1" fmla="*/ 0 h 71"/>
                  <a:gd name="T2" fmla="*/ 71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0" y="39"/>
                      <a:pt x="32" y="71"/>
                      <a:pt x="71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8" name="Freeform 63"/>
              <p:cNvSpPr>
                <a:spLocks/>
              </p:cNvSpPr>
              <p:nvPr userDrawn="1"/>
            </p:nvSpPr>
            <p:spPr bwMode="auto">
              <a:xfrm>
                <a:off x="3462337" y="4262438"/>
                <a:ext cx="214313" cy="214313"/>
              </a:xfrm>
              <a:custGeom>
                <a:avLst/>
                <a:gdLst>
                  <a:gd name="T0" fmla="*/ 0 w 58"/>
                  <a:gd name="T1" fmla="*/ 0 h 58"/>
                  <a:gd name="T2" fmla="*/ 58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0"/>
                    </a:moveTo>
                    <a:cubicBezTo>
                      <a:pt x="0" y="32"/>
                      <a:pt x="26" y="58"/>
                      <a:pt x="58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9" name="Freeform 64"/>
              <p:cNvSpPr>
                <a:spLocks/>
              </p:cNvSpPr>
              <p:nvPr userDrawn="1"/>
            </p:nvSpPr>
            <p:spPr bwMode="auto">
              <a:xfrm>
                <a:off x="3511550" y="42624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5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0" name="Freeform 65"/>
              <p:cNvSpPr>
                <a:spLocks/>
              </p:cNvSpPr>
              <p:nvPr userDrawn="1"/>
            </p:nvSpPr>
            <p:spPr bwMode="auto">
              <a:xfrm>
                <a:off x="3559175" y="42624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8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1" name="Freeform 66"/>
              <p:cNvSpPr>
                <a:spLocks/>
              </p:cNvSpPr>
              <p:nvPr userDrawn="1"/>
            </p:nvSpPr>
            <p:spPr bwMode="auto">
              <a:xfrm>
                <a:off x="3606800" y="4262438"/>
                <a:ext cx="69850" cy="69850"/>
              </a:xfrm>
              <a:custGeom>
                <a:avLst/>
                <a:gdLst>
                  <a:gd name="T0" fmla="*/ 0 w 19"/>
                  <a:gd name="T1" fmla="*/ 0 h 19"/>
                  <a:gd name="T2" fmla="*/ 19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0"/>
                    </a:moveTo>
                    <a:cubicBezTo>
                      <a:pt x="0" y="11"/>
                      <a:pt x="9" y="19"/>
                      <a:pt x="19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2" name="Freeform 67"/>
              <p:cNvSpPr>
                <a:spLocks/>
              </p:cNvSpPr>
              <p:nvPr userDrawn="1"/>
            </p:nvSpPr>
            <p:spPr bwMode="auto">
              <a:xfrm>
                <a:off x="3654425" y="4262438"/>
                <a:ext cx="22225" cy="25400"/>
              </a:xfrm>
              <a:custGeom>
                <a:avLst/>
                <a:gdLst>
                  <a:gd name="T0" fmla="*/ 0 w 6"/>
                  <a:gd name="T1" fmla="*/ 0 h 7"/>
                  <a:gd name="T2" fmla="*/ 6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cubicBezTo>
                      <a:pt x="0" y="4"/>
                      <a:pt x="3" y="7"/>
                      <a:pt x="6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3" name="Freeform 68"/>
              <p:cNvSpPr>
                <a:spLocks/>
              </p:cNvSpPr>
              <p:nvPr userDrawn="1"/>
            </p:nvSpPr>
            <p:spPr bwMode="auto">
              <a:xfrm>
                <a:off x="3676650" y="4262438"/>
                <a:ext cx="969963" cy="971550"/>
              </a:xfrm>
              <a:custGeom>
                <a:avLst/>
                <a:gdLst>
                  <a:gd name="T0" fmla="*/ 264 w 264"/>
                  <a:gd name="T1" fmla="*/ 0 h 264"/>
                  <a:gd name="T2" fmla="*/ 0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0"/>
                    </a:moveTo>
                    <a:cubicBezTo>
                      <a:pt x="118" y="0"/>
                      <a:pt x="0" y="118"/>
                      <a:pt x="0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4" name="Freeform 69"/>
              <p:cNvSpPr>
                <a:spLocks/>
              </p:cNvSpPr>
              <p:nvPr userDrawn="1"/>
            </p:nvSpPr>
            <p:spPr bwMode="auto">
              <a:xfrm>
                <a:off x="3724275" y="4310063"/>
                <a:ext cx="922338" cy="923925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2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5" name="Freeform 70"/>
              <p:cNvSpPr>
                <a:spLocks/>
              </p:cNvSpPr>
              <p:nvPr userDrawn="1"/>
            </p:nvSpPr>
            <p:spPr bwMode="auto">
              <a:xfrm>
                <a:off x="3771900" y="4357688"/>
                <a:ext cx="874713" cy="876300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6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6" name="Freeform 71"/>
              <p:cNvSpPr>
                <a:spLocks/>
              </p:cNvSpPr>
              <p:nvPr userDrawn="1"/>
            </p:nvSpPr>
            <p:spPr bwMode="auto">
              <a:xfrm>
                <a:off x="3819525" y="4405313"/>
                <a:ext cx="827088" cy="828675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0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7" name="Freeform 72"/>
              <p:cNvSpPr>
                <a:spLocks/>
              </p:cNvSpPr>
              <p:nvPr userDrawn="1"/>
            </p:nvSpPr>
            <p:spPr bwMode="auto">
              <a:xfrm>
                <a:off x="3867150" y="4454526"/>
                <a:ext cx="779463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8" name="Freeform 73"/>
              <p:cNvSpPr>
                <a:spLocks/>
              </p:cNvSpPr>
              <p:nvPr userDrawn="1"/>
            </p:nvSpPr>
            <p:spPr bwMode="auto">
              <a:xfrm>
                <a:off x="3914775" y="4497388"/>
                <a:ext cx="731838" cy="736600"/>
              </a:xfrm>
              <a:custGeom>
                <a:avLst/>
                <a:gdLst>
                  <a:gd name="T0" fmla="*/ 199 w 199"/>
                  <a:gd name="T1" fmla="*/ 0 h 200"/>
                  <a:gd name="T2" fmla="*/ 0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0"/>
                    </a:moveTo>
                    <a:cubicBezTo>
                      <a:pt x="89" y="0"/>
                      <a:pt x="0" y="90"/>
                      <a:pt x="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9" name="Freeform 74"/>
              <p:cNvSpPr>
                <a:spLocks/>
              </p:cNvSpPr>
              <p:nvPr userDrawn="1"/>
            </p:nvSpPr>
            <p:spPr bwMode="auto">
              <a:xfrm>
                <a:off x="3959225" y="4546601"/>
                <a:ext cx="687388" cy="687388"/>
              </a:xfrm>
              <a:custGeom>
                <a:avLst/>
                <a:gdLst>
                  <a:gd name="T0" fmla="*/ 187 w 187"/>
                  <a:gd name="T1" fmla="*/ 0 h 187"/>
                  <a:gd name="T2" fmla="*/ 0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0"/>
                    </a:moveTo>
                    <a:cubicBezTo>
                      <a:pt x="84" y="0"/>
                      <a:pt x="0" y="84"/>
                      <a:pt x="0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0" name="Freeform 75"/>
              <p:cNvSpPr>
                <a:spLocks/>
              </p:cNvSpPr>
              <p:nvPr userDrawn="1"/>
            </p:nvSpPr>
            <p:spPr bwMode="auto">
              <a:xfrm>
                <a:off x="4006850" y="4594226"/>
                <a:ext cx="639763" cy="639763"/>
              </a:xfrm>
              <a:custGeom>
                <a:avLst/>
                <a:gdLst>
                  <a:gd name="T0" fmla="*/ 174 w 174"/>
                  <a:gd name="T1" fmla="*/ 0 h 174"/>
                  <a:gd name="T2" fmla="*/ 0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1" name="Freeform 76"/>
              <p:cNvSpPr>
                <a:spLocks/>
              </p:cNvSpPr>
              <p:nvPr userDrawn="1"/>
            </p:nvSpPr>
            <p:spPr bwMode="auto">
              <a:xfrm>
                <a:off x="4054475" y="4641851"/>
                <a:ext cx="592138" cy="592138"/>
              </a:xfrm>
              <a:custGeom>
                <a:avLst/>
                <a:gdLst>
                  <a:gd name="T0" fmla="*/ 161 w 161"/>
                  <a:gd name="T1" fmla="*/ 0 h 161"/>
                  <a:gd name="T2" fmla="*/ 0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0"/>
                    </a:moveTo>
                    <a:cubicBezTo>
                      <a:pt x="72" y="0"/>
                      <a:pt x="0" y="72"/>
                      <a:pt x="0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2" name="Freeform 77"/>
              <p:cNvSpPr>
                <a:spLocks/>
              </p:cNvSpPr>
              <p:nvPr userDrawn="1"/>
            </p:nvSpPr>
            <p:spPr bwMode="auto">
              <a:xfrm>
                <a:off x="4102100" y="4689476"/>
                <a:ext cx="544513" cy="544513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6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3" name="Freeform 78"/>
              <p:cNvSpPr>
                <a:spLocks/>
              </p:cNvSpPr>
              <p:nvPr userDrawn="1"/>
            </p:nvSpPr>
            <p:spPr bwMode="auto">
              <a:xfrm>
                <a:off x="4149725" y="4737101"/>
                <a:ext cx="496888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0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4" name="Freeform 79"/>
              <p:cNvSpPr>
                <a:spLocks/>
              </p:cNvSpPr>
              <p:nvPr userDrawn="1"/>
            </p:nvSpPr>
            <p:spPr bwMode="auto">
              <a:xfrm>
                <a:off x="4197350" y="4784726"/>
                <a:ext cx="449263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4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5" name="Freeform 80"/>
              <p:cNvSpPr>
                <a:spLocks/>
              </p:cNvSpPr>
              <p:nvPr userDrawn="1"/>
            </p:nvSpPr>
            <p:spPr bwMode="auto">
              <a:xfrm>
                <a:off x="4246562" y="4829176"/>
                <a:ext cx="400050" cy="404813"/>
              </a:xfrm>
              <a:custGeom>
                <a:avLst/>
                <a:gdLst>
                  <a:gd name="T0" fmla="*/ 109 w 109"/>
                  <a:gd name="T1" fmla="*/ 0 h 110"/>
                  <a:gd name="T2" fmla="*/ 0 w 109"/>
                  <a:gd name="T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0"/>
                    </a:moveTo>
                    <a:cubicBezTo>
                      <a:pt x="49" y="0"/>
                      <a:pt x="0" y="49"/>
                      <a:pt x="0" y="11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6" name="Freeform 81"/>
              <p:cNvSpPr>
                <a:spLocks/>
              </p:cNvSpPr>
              <p:nvPr userDrawn="1"/>
            </p:nvSpPr>
            <p:spPr bwMode="auto">
              <a:xfrm>
                <a:off x="4294187" y="4876801"/>
                <a:ext cx="352425" cy="357188"/>
              </a:xfrm>
              <a:custGeom>
                <a:avLst/>
                <a:gdLst>
                  <a:gd name="T0" fmla="*/ 96 w 96"/>
                  <a:gd name="T1" fmla="*/ 0 h 97"/>
                  <a:gd name="T2" fmla="*/ 0 w 96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96" y="0"/>
                    </a:moveTo>
                    <a:cubicBezTo>
                      <a:pt x="43" y="0"/>
                      <a:pt x="0" y="44"/>
                      <a:pt x="0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7" name="Freeform 82"/>
              <p:cNvSpPr>
                <a:spLocks/>
              </p:cNvSpPr>
              <p:nvPr userDrawn="1"/>
            </p:nvSpPr>
            <p:spPr bwMode="auto">
              <a:xfrm>
                <a:off x="4337050" y="4924426"/>
                <a:ext cx="309563" cy="309563"/>
              </a:xfrm>
              <a:custGeom>
                <a:avLst/>
                <a:gdLst>
                  <a:gd name="T0" fmla="*/ 84 w 84"/>
                  <a:gd name="T1" fmla="*/ 0 h 84"/>
                  <a:gd name="T2" fmla="*/ 0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cubicBezTo>
                      <a:pt x="38" y="0"/>
                      <a:pt x="0" y="38"/>
                      <a:pt x="0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8" name="Freeform 83"/>
              <p:cNvSpPr>
                <a:spLocks/>
              </p:cNvSpPr>
              <p:nvPr userDrawn="1"/>
            </p:nvSpPr>
            <p:spPr bwMode="auto">
              <a:xfrm>
                <a:off x="4386262" y="4972051"/>
                <a:ext cx="260350" cy="261938"/>
              </a:xfrm>
              <a:custGeom>
                <a:avLst/>
                <a:gdLst>
                  <a:gd name="T0" fmla="*/ 71 w 71"/>
                  <a:gd name="T1" fmla="*/ 0 h 71"/>
                  <a:gd name="T2" fmla="*/ 0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32" y="0"/>
                      <a:pt x="0" y="32"/>
                      <a:pt x="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9" name="Freeform 84"/>
              <p:cNvSpPr>
                <a:spLocks/>
              </p:cNvSpPr>
              <p:nvPr userDrawn="1"/>
            </p:nvSpPr>
            <p:spPr bwMode="auto">
              <a:xfrm>
                <a:off x="4433887" y="5021263"/>
                <a:ext cx="212725" cy="212725"/>
              </a:xfrm>
              <a:custGeom>
                <a:avLst/>
                <a:gdLst>
                  <a:gd name="T0" fmla="*/ 58 w 58"/>
                  <a:gd name="T1" fmla="*/ 0 h 58"/>
                  <a:gd name="T2" fmla="*/ 0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0"/>
                    </a:moveTo>
                    <a:cubicBezTo>
                      <a:pt x="26" y="0"/>
                      <a:pt x="0" y="26"/>
                      <a:pt x="0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0" name="Freeform 85"/>
              <p:cNvSpPr>
                <a:spLocks/>
              </p:cNvSpPr>
              <p:nvPr userDrawn="1"/>
            </p:nvSpPr>
            <p:spPr bwMode="auto">
              <a:xfrm>
                <a:off x="4481512" y="5068888"/>
                <a:ext cx="165100" cy="165100"/>
              </a:xfrm>
              <a:custGeom>
                <a:avLst/>
                <a:gdLst>
                  <a:gd name="T0" fmla="*/ 45 w 45"/>
                  <a:gd name="T1" fmla="*/ 0 h 45"/>
                  <a:gd name="T2" fmla="*/ 0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1" name="Freeform 86"/>
              <p:cNvSpPr>
                <a:spLocks/>
              </p:cNvSpPr>
              <p:nvPr userDrawn="1"/>
            </p:nvSpPr>
            <p:spPr bwMode="auto">
              <a:xfrm>
                <a:off x="4529137" y="5116513"/>
                <a:ext cx="117475" cy="117475"/>
              </a:xfrm>
              <a:custGeom>
                <a:avLst/>
                <a:gdLst>
                  <a:gd name="T0" fmla="*/ 32 w 32"/>
                  <a:gd name="T1" fmla="*/ 0 h 32"/>
                  <a:gd name="T2" fmla="*/ 0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0"/>
                    </a:moveTo>
                    <a:cubicBezTo>
                      <a:pt x="14" y="0"/>
                      <a:pt x="0" y="14"/>
                      <a:pt x="0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2" name="Freeform 87"/>
              <p:cNvSpPr>
                <a:spLocks/>
              </p:cNvSpPr>
              <p:nvPr userDrawn="1"/>
            </p:nvSpPr>
            <p:spPr bwMode="auto">
              <a:xfrm>
                <a:off x="4576762" y="5164138"/>
                <a:ext cx="69850" cy="69850"/>
              </a:xfrm>
              <a:custGeom>
                <a:avLst/>
                <a:gdLst>
                  <a:gd name="T0" fmla="*/ 19 w 19"/>
                  <a:gd name="T1" fmla="*/ 0 h 19"/>
                  <a:gd name="T2" fmla="*/ 0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0"/>
                    </a:moveTo>
                    <a:cubicBezTo>
                      <a:pt x="8" y="0"/>
                      <a:pt x="0" y="8"/>
                      <a:pt x="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3" name="Freeform 88"/>
              <p:cNvSpPr>
                <a:spLocks/>
              </p:cNvSpPr>
              <p:nvPr userDrawn="1"/>
            </p:nvSpPr>
            <p:spPr bwMode="auto">
              <a:xfrm>
                <a:off x="4624387" y="5208588"/>
                <a:ext cx="22225" cy="25400"/>
              </a:xfrm>
              <a:custGeom>
                <a:avLst/>
                <a:gdLst>
                  <a:gd name="T0" fmla="*/ 6 w 6"/>
                  <a:gd name="T1" fmla="*/ 0 h 7"/>
                  <a:gd name="T2" fmla="*/ 0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0"/>
                    </a:moveTo>
                    <a:cubicBezTo>
                      <a:pt x="2" y="0"/>
                      <a:pt x="0" y="3"/>
                      <a:pt x="0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4" name="Freeform 89"/>
              <p:cNvSpPr>
                <a:spLocks/>
              </p:cNvSpPr>
              <p:nvPr userDrawn="1"/>
            </p:nvSpPr>
            <p:spPr bwMode="auto">
              <a:xfrm>
                <a:off x="1739900" y="3290888"/>
                <a:ext cx="966788" cy="971550"/>
              </a:xfrm>
              <a:custGeom>
                <a:avLst/>
                <a:gdLst>
                  <a:gd name="T0" fmla="*/ 263 w 263"/>
                  <a:gd name="T1" fmla="*/ 264 h 264"/>
                  <a:gd name="T2" fmla="*/ 0 w 263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263" y="264"/>
                    </a:moveTo>
                    <a:cubicBezTo>
                      <a:pt x="263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5" name="Freeform 90"/>
              <p:cNvSpPr>
                <a:spLocks/>
              </p:cNvSpPr>
              <p:nvPr userDrawn="1"/>
            </p:nvSpPr>
            <p:spPr bwMode="auto">
              <a:xfrm>
                <a:off x="1739900" y="33385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6" name="Freeform 91"/>
              <p:cNvSpPr>
                <a:spLocks/>
              </p:cNvSpPr>
              <p:nvPr userDrawn="1"/>
            </p:nvSpPr>
            <p:spPr bwMode="auto">
              <a:xfrm>
                <a:off x="1739900" y="3387726"/>
                <a:ext cx="874713" cy="874713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7"/>
                      <a:pt x="13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7" name="Freeform 92"/>
              <p:cNvSpPr>
                <a:spLocks/>
              </p:cNvSpPr>
              <p:nvPr userDrawn="1"/>
            </p:nvSpPr>
            <p:spPr bwMode="auto">
              <a:xfrm>
                <a:off x="1739900" y="3435351"/>
                <a:ext cx="827088" cy="827088"/>
              </a:xfrm>
              <a:custGeom>
                <a:avLst/>
                <a:gdLst>
                  <a:gd name="T0" fmla="*/ 225 w 225"/>
                  <a:gd name="T1" fmla="*/ 225 h 225"/>
                  <a:gd name="T2" fmla="*/ 0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225"/>
                    </a:moveTo>
                    <a:cubicBezTo>
                      <a:pt x="225" y="101"/>
                      <a:pt x="12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8" name="Freeform 93"/>
              <p:cNvSpPr>
                <a:spLocks/>
              </p:cNvSpPr>
              <p:nvPr userDrawn="1"/>
            </p:nvSpPr>
            <p:spPr bwMode="auto">
              <a:xfrm>
                <a:off x="1739900" y="3482976"/>
                <a:ext cx="777875" cy="779463"/>
              </a:xfrm>
              <a:custGeom>
                <a:avLst/>
                <a:gdLst>
                  <a:gd name="T0" fmla="*/ 212 w 212"/>
                  <a:gd name="T1" fmla="*/ 212 h 212"/>
                  <a:gd name="T2" fmla="*/ 0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212"/>
                    </a:moveTo>
                    <a:cubicBezTo>
                      <a:pt x="212" y="95"/>
                      <a:pt x="11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9" name="Freeform 94"/>
              <p:cNvSpPr>
                <a:spLocks/>
              </p:cNvSpPr>
              <p:nvPr userDrawn="1"/>
            </p:nvSpPr>
            <p:spPr bwMode="auto">
              <a:xfrm>
                <a:off x="1739900" y="3530601"/>
                <a:ext cx="730250" cy="731838"/>
              </a:xfrm>
              <a:custGeom>
                <a:avLst/>
                <a:gdLst>
                  <a:gd name="T0" fmla="*/ 199 w 199"/>
                  <a:gd name="T1" fmla="*/ 199 h 199"/>
                  <a:gd name="T2" fmla="*/ 0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199"/>
                    </a:moveTo>
                    <a:cubicBezTo>
                      <a:pt x="199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0" name="Freeform 95"/>
              <p:cNvSpPr>
                <a:spLocks/>
              </p:cNvSpPr>
              <p:nvPr userDrawn="1"/>
            </p:nvSpPr>
            <p:spPr bwMode="auto">
              <a:xfrm>
                <a:off x="1739900" y="3578226"/>
                <a:ext cx="682625" cy="684213"/>
              </a:xfrm>
              <a:custGeom>
                <a:avLst/>
                <a:gdLst>
                  <a:gd name="T0" fmla="*/ 186 w 186"/>
                  <a:gd name="T1" fmla="*/ 186 h 186"/>
                  <a:gd name="T2" fmla="*/ 0 w 186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186" y="186"/>
                    </a:moveTo>
                    <a:cubicBezTo>
                      <a:pt x="186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1" name="Freeform 96"/>
              <p:cNvSpPr>
                <a:spLocks/>
              </p:cNvSpPr>
              <p:nvPr userDrawn="1"/>
            </p:nvSpPr>
            <p:spPr bwMode="auto">
              <a:xfrm>
                <a:off x="1739900" y="3622676"/>
                <a:ext cx="635000" cy="639763"/>
              </a:xfrm>
              <a:custGeom>
                <a:avLst/>
                <a:gdLst>
                  <a:gd name="T0" fmla="*/ 173 w 173"/>
                  <a:gd name="T1" fmla="*/ 174 h 174"/>
                  <a:gd name="T2" fmla="*/ 0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173" y="174"/>
                    </a:moveTo>
                    <a:cubicBezTo>
                      <a:pt x="173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2" name="Freeform 97"/>
              <p:cNvSpPr>
                <a:spLocks/>
              </p:cNvSpPr>
              <p:nvPr userDrawn="1"/>
            </p:nvSpPr>
            <p:spPr bwMode="auto">
              <a:xfrm>
                <a:off x="1739900" y="3670301"/>
                <a:ext cx="590550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3" name="Freeform 98"/>
              <p:cNvSpPr>
                <a:spLocks/>
              </p:cNvSpPr>
              <p:nvPr userDrawn="1"/>
            </p:nvSpPr>
            <p:spPr bwMode="auto">
              <a:xfrm>
                <a:off x="1739900" y="3717926"/>
                <a:ext cx="542925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4" name="Freeform 99"/>
              <p:cNvSpPr>
                <a:spLocks/>
              </p:cNvSpPr>
              <p:nvPr userDrawn="1"/>
            </p:nvSpPr>
            <p:spPr bwMode="auto">
              <a:xfrm>
                <a:off x="1739900" y="3765551"/>
                <a:ext cx="495300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5" name="Freeform 100"/>
              <p:cNvSpPr>
                <a:spLocks/>
              </p:cNvSpPr>
              <p:nvPr userDrawn="1"/>
            </p:nvSpPr>
            <p:spPr bwMode="auto">
              <a:xfrm>
                <a:off x="1739900" y="3813176"/>
                <a:ext cx="447675" cy="449263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cubicBezTo>
                      <a:pt x="122" y="55"/>
                      <a:pt x="6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6" name="Freeform 101"/>
              <p:cNvSpPr>
                <a:spLocks/>
              </p:cNvSpPr>
              <p:nvPr userDrawn="1"/>
            </p:nvSpPr>
            <p:spPr bwMode="auto">
              <a:xfrm>
                <a:off x="1739900" y="3862388"/>
                <a:ext cx="400050" cy="400050"/>
              </a:xfrm>
              <a:custGeom>
                <a:avLst/>
                <a:gdLst>
                  <a:gd name="T0" fmla="*/ 109 w 109"/>
                  <a:gd name="T1" fmla="*/ 109 h 109"/>
                  <a:gd name="T2" fmla="*/ 0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109"/>
                    </a:moveTo>
                    <a:cubicBezTo>
                      <a:pt x="109" y="49"/>
                      <a:pt x="6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7" name="Freeform 102"/>
              <p:cNvSpPr>
                <a:spLocks/>
              </p:cNvSpPr>
              <p:nvPr userDrawn="1"/>
            </p:nvSpPr>
            <p:spPr bwMode="auto">
              <a:xfrm>
                <a:off x="1739900" y="3910013"/>
                <a:ext cx="352425" cy="352425"/>
              </a:xfrm>
              <a:custGeom>
                <a:avLst/>
                <a:gdLst>
                  <a:gd name="T0" fmla="*/ 96 w 96"/>
                  <a:gd name="T1" fmla="*/ 96 h 96"/>
                  <a:gd name="T2" fmla="*/ 0 w 96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96" y="96"/>
                    </a:moveTo>
                    <a:cubicBezTo>
                      <a:pt x="96" y="43"/>
                      <a:pt x="5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8" name="Freeform 103"/>
              <p:cNvSpPr>
                <a:spLocks/>
              </p:cNvSpPr>
              <p:nvPr userDrawn="1"/>
            </p:nvSpPr>
            <p:spPr bwMode="auto">
              <a:xfrm>
                <a:off x="1739900" y="3952876"/>
                <a:ext cx="304800" cy="309563"/>
              </a:xfrm>
              <a:custGeom>
                <a:avLst/>
                <a:gdLst>
                  <a:gd name="T0" fmla="*/ 83 w 83"/>
                  <a:gd name="T1" fmla="*/ 84 h 84"/>
                  <a:gd name="T2" fmla="*/ 0 w 83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83" y="84"/>
                    </a:moveTo>
                    <a:cubicBezTo>
                      <a:pt x="83" y="38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9" name="Freeform 104"/>
              <p:cNvSpPr>
                <a:spLocks/>
              </p:cNvSpPr>
              <p:nvPr userDrawn="1"/>
            </p:nvSpPr>
            <p:spPr bwMode="auto">
              <a:xfrm>
                <a:off x="1739900" y="4002088"/>
                <a:ext cx="257175" cy="260350"/>
              </a:xfrm>
              <a:custGeom>
                <a:avLst/>
                <a:gdLst>
                  <a:gd name="T0" fmla="*/ 70 w 70"/>
                  <a:gd name="T1" fmla="*/ 71 h 71"/>
                  <a:gd name="T2" fmla="*/ 0 w 70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70" y="71"/>
                    </a:moveTo>
                    <a:cubicBezTo>
                      <a:pt x="70" y="32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0" name="Freeform 105"/>
              <p:cNvSpPr>
                <a:spLocks/>
              </p:cNvSpPr>
              <p:nvPr userDrawn="1"/>
            </p:nvSpPr>
            <p:spPr bwMode="auto">
              <a:xfrm>
                <a:off x="1739900" y="4049713"/>
                <a:ext cx="212725" cy="212725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1" name="Freeform 106"/>
              <p:cNvSpPr>
                <a:spLocks/>
              </p:cNvSpPr>
              <p:nvPr userDrawn="1"/>
            </p:nvSpPr>
            <p:spPr bwMode="auto">
              <a:xfrm>
                <a:off x="1739900" y="4097338"/>
                <a:ext cx="165100" cy="165100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2" name="Freeform 107"/>
              <p:cNvSpPr>
                <a:spLocks/>
              </p:cNvSpPr>
              <p:nvPr userDrawn="1"/>
            </p:nvSpPr>
            <p:spPr bwMode="auto">
              <a:xfrm>
                <a:off x="1739900" y="4144963"/>
                <a:ext cx="117475" cy="117475"/>
              </a:xfrm>
              <a:custGeom>
                <a:avLst/>
                <a:gdLst>
                  <a:gd name="T0" fmla="*/ 32 w 32"/>
                  <a:gd name="T1" fmla="*/ 32 h 32"/>
                  <a:gd name="T2" fmla="*/ 0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32"/>
                    </a:moveTo>
                    <a:cubicBezTo>
                      <a:pt x="32" y="14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3" name="Freeform 108"/>
              <p:cNvSpPr>
                <a:spLocks/>
              </p:cNvSpPr>
              <p:nvPr userDrawn="1"/>
            </p:nvSpPr>
            <p:spPr bwMode="auto">
              <a:xfrm>
                <a:off x="1739900" y="4192588"/>
                <a:ext cx="69850" cy="69850"/>
              </a:xfrm>
              <a:custGeom>
                <a:avLst/>
                <a:gdLst>
                  <a:gd name="T0" fmla="*/ 19 w 19"/>
                  <a:gd name="T1" fmla="*/ 19 h 19"/>
                  <a:gd name="T2" fmla="*/ 0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19"/>
                    </a:moveTo>
                    <a:cubicBezTo>
                      <a:pt x="19" y="8"/>
                      <a:pt x="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4" name="Freeform 109"/>
              <p:cNvSpPr>
                <a:spLocks/>
              </p:cNvSpPr>
              <p:nvPr userDrawn="1"/>
            </p:nvSpPr>
            <p:spPr bwMode="auto">
              <a:xfrm>
                <a:off x="1739900" y="4240213"/>
                <a:ext cx="22225" cy="22225"/>
              </a:xfrm>
              <a:custGeom>
                <a:avLst/>
                <a:gdLst>
                  <a:gd name="T0" fmla="*/ 6 w 6"/>
                  <a:gd name="T1" fmla="*/ 6 h 6"/>
                  <a:gd name="T2" fmla="*/ 0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cubicBezTo>
                      <a:pt x="6" y="3"/>
                      <a:pt x="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5" name="Freeform 110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971550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6" name="Freeform 111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923925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7" name="Freeform 112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874713" cy="876300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2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8" name="Freeform 113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827088" cy="828675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5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9" name="Freeform 114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779463" cy="784225"/>
              </a:xfrm>
              <a:custGeom>
                <a:avLst/>
                <a:gdLst>
                  <a:gd name="T0" fmla="*/ 0 w 212"/>
                  <a:gd name="T1" fmla="*/ 213 h 213"/>
                  <a:gd name="T2" fmla="*/ 212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0" y="213"/>
                    </a:moveTo>
                    <a:cubicBezTo>
                      <a:pt x="117" y="213"/>
                      <a:pt x="212" y="118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0" name="Freeform 115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731838" cy="736600"/>
              </a:xfrm>
              <a:custGeom>
                <a:avLst/>
                <a:gdLst>
                  <a:gd name="T0" fmla="*/ 0 w 199"/>
                  <a:gd name="T1" fmla="*/ 200 h 200"/>
                  <a:gd name="T2" fmla="*/ 199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200"/>
                    </a:moveTo>
                    <a:cubicBezTo>
                      <a:pt x="110" y="200"/>
                      <a:pt x="199" y="111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1" name="Freeform 116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687388" cy="688975"/>
              </a:xfrm>
              <a:custGeom>
                <a:avLst/>
                <a:gdLst>
                  <a:gd name="T0" fmla="*/ 0 w 187"/>
                  <a:gd name="T1" fmla="*/ 187 h 187"/>
                  <a:gd name="T2" fmla="*/ 187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187"/>
                    </a:moveTo>
                    <a:cubicBezTo>
                      <a:pt x="103" y="187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2" name="Freeform 117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639763" cy="641350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3" name="Freeform 118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592138" cy="592138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4" name="Freeform 119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544513" cy="544513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5" name="Freeform 120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496888" cy="496888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6" name="Freeform 121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449263" cy="452438"/>
              </a:xfrm>
              <a:custGeom>
                <a:avLst/>
                <a:gdLst>
                  <a:gd name="T0" fmla="*/ 0 w 122"/>
                  <a:gd name="T1" fmla="*/ 123 h 123"/>
                  <a:gd name="T2" fmla="*/ 122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0" y="123"/>
                    </a:moveTo>
                    <a:cubicBezTo>
                      <a:pt x="68" y="123"/>
                      <a:pt x="122" y="68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7" name="Freeform 122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401638" cy="404813"/>
              </a:xfrm>
              <a:custGeom>
                <a:avLst/>
                <a:gdLst>
                  <a:gd name="T0" fmla="*/ 0 w 109"/>
                  <a:gd name="T1" fmla="*/ 110 h 110"/>
                  <a:gd name="T2" fmla="*/ 109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0" y="110"/>
                    </a:moveTo>
                    <a:cubicBezTo>
                      <a:pt x="60" y="110"/>
                      <a:pt x="109" y="61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8" name="Freeform 123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354013" cy="357188"/>
              </a:xfrm>
              <a:custGeom>
                <a:avLst/>
                <a:gdLst>
                  <a:gd name="T0" fmla="*/ 0 w 96"/>
                  <a:gd name="T1" fmla="*/ 97 h 97"/>
                  <a:gd name="T2" fmla="*/ 96 w 96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0" y="97"/>
                    </a:moveTo>
                    <a:cubicBezTo>
                      <a:pt x="53" y="97"/>
                      <a:pt x="96" y="54"/>
                      <a:pt x="9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9" name="Freeform 124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309563" cy="309563"/>
              </a:xfrm>
              <a:custGeom>
                <a:avLst/>
                <a:gdLst>
                  <a:gd name="T0" fmla="*/ 0 w 84"/>
                  <a:gd name="T1" fmla="*/ 84 h 84"/>
                  <a:gd name="T2" fmla="*/ 84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84"/>
                    </a:moveTo>
                    <a:cubicBezTo>
                      <a:pt x="46" y="84"/>
                      <a:pt x="84" y="47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0" name="Freeform 125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261938" cy="261938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1" name="Freeform 126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214313" cy="214313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2" name="Freeform 127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166688" cy="166688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3" name="Freeform 128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119063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4" name="Freeform 129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69850" cy="74613"/>
              </a:xfrm>
              <a:custGeom>
                <a:avLst/>
                <a:gdLst>
                  <a:gd name="T0" fmla="*/ 0 w 19"/>
                  <a:gd name="T1" fmla="*/ 20 h 20"/>
                  <a:gd name="T2" fmla="*/ 19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0" y="20"/>
                    </a:moveTo>
                    <a:cubicBezTo>
                      <a:pt x="11" y="20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5" name="Freeform 130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22225" cy="26988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4" y="7"/>
                      <a:pt x="6" y="4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6" name="Freeform 131"/>
              <p:cNvSpPr>
                <a:spLocks/>
              </p:cNvSpPr>
              <p:nvPr userDrawn="1"/>
            </p:nvSpPr>
            <p:spPr bwMode="auto">
              <a:xfrm>
                <a:off x="768350" y="4262438"/>
                <a:ext cx="971550" cy="971550"/>
              </a:xfrm>
              <a:custGeom>
                <a:avLst/>
                <a:gdLst>
                  <a:gd name="T0" fmla="*/ 0 w 264"/>
                  <a:gd name="T1" fmla="*/ 0 h 264"/>
                  <a:gd name="T2" fmla="*/ 264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0"/>
                    </a:moveTo>
                    <a:cubicBezTo>
                      <a:pt x="0" y="146"/>
                      <a:pt x="118" y="264"/>
                      <a:pt x="264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7" name="Freeform 132"/>
              <p:cNvSpPr>
                <a:spLocks/>
              </p:cNvSpPr>
              <p:nvPr userDrawn="1"/>
            </p:nvSpPr>
            <p:spPr bwMode="auto">
              <a:xfrm>
                <a:off x="817562" y="4262438"/>
                <a:ext cx="922338" cy="923925"/>
              </a:xfrm>
              <a:custGeom>
                <a:avLst/>
                <a:gdLst>
                  <a:gd name="T0" fmla="*/ 0 w 251"/>
                  <a:gd name="T1" fmla="*/ 0 h 251"/>
                  <a:gd name="T2" fmla="*/ 251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0"/>
                    </a:moveTo>
                    <a:cubicBezTo>
                      <a:pt x="0" y="139"/>
                      <a:pt x="112" y="251"/>
                      <a:pt x="251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8" name="Freeform 133"/>
              <p:cNvSpPr>
                <a:spLocks/>
              </p:cNvSpPr>
              <p:nvPr userDrawn="1"/>
            </p:nvSpPr>
            <p:spPr bwMode="auto">
              <a:xfrm>
                <a:off x="865187" y="4262438"/>
                <a:ext cx="874713" cy="876300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2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9" name="Freeform 134"/>
              <p:cNvSpPr>
                <a:spLocks/>
              </p:cNvSpPr>
              <p:nvPr userDrawn="1"/>
            </p:nvSpPr>
            <p:spPr bwMode="auto">
              <a:xfrm>
                <a:off x="912812" y="4262438"/>
                <a:ext cx="827088" cy="828675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5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0" name="Freeform 135"/>
              <p:cNvSpPr>
                <a:spLocks/>
              </p:cNvSpPr>
              <p:nvPr userDrawn="1"/>
            </p:nvSpPr>
            <p:spPr bwMode="auto">
              <a:xfrm>
                <a:off x="957262" y="4262438"/>
                <a:ext cx="782638" cy="779463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1" name="Freeform 136"/>
              <p:cNvSpPr>
                <a:spLocks/>
              </p:cNvSpPr>
              <p:nvPr userDrawn="1"/>
            </p:nvSpPr>
            <p:spPr bwMode="auto">
              <a:xfrm>
                <a:off x="1004887" y="4262438"/>
                <a:ext cx="735013" cy="736600"/>
              </a:xfrm>
              <a:custGeom>
                <a:avLst/>
                <a:gdLst>
                  <a:gd name="T0" fmla="*/ 0 w 200"/>
                  <a:gd name="T1" fmla="*/ 0 h 200"/>
                  <a:gd name="T2" fmla="*/ 200 w 200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0" y="0"/>
                    </a:moveTo>
                    <a:cubicBezTo>
                      <a:pt x="0" y="110"/>
                      <a:pt x="90" y="200"/>
                      <a:pt x="20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2" name="Freeform 137"/>
              <p:cNvSpPr>
                <a:spLocks/>
              </p:cNvSpPr>
              <p:nvPr userDrawn="1"/>
            </p:nvSpPr>
            <p:spPr bwMode="auto">
              <a:xfrm>
                <a:off x="1052512" y="4262438"/>
                <a:ext cx="687388" cy="687388"/>
              </a:xfrm>
              <a:custGeom>
                <a:avLst/>
                <a:gdLst>
                  <a:gd name="T0" fmla="*/ 0 w 187"/>
                  <a:gd name="T1" fmla="*/ 0 h 187"/>
                  <a:gd name="T2" fmla="*/ 187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0"/>
                    </a:moveTo>
                    <a:cubicBezTo>
                      <a:pt x="0" y="103"/>
                      <a:pt x="84" y="187"/>
                      <a:pt x="187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3" name="Freeform 138"/>
              <p:cNvSpPr>
                <a:spLocks/>
              </p:cNvSpPr>
              <p:nvPr userDrawn="1"/>
            </p:nvSpPr>
            <p:spPr bwMode="auto">
              <a:xfrm>
                <a:off x="1100137" y="4262438"/>
                <a:ext cx="639763" cy="639763"/>
              </a:xfrm>
              <a:custGeom>
                <a:avLst/>
                <a:gdLst>
                  <a:gd name="T0" fmla="*/ 0 w 174"/>
                  <a:gd name="T1" fmla="*/ 0 h 174"/>
                  <a:gd name="T2" fmla="*/ 174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0"/>
                    </a:moveTo>
                    <a:cubicBezTo>
                      <a:pt x="0" y="96"/>
                      <a:pt x="78" y="174"/>
                      <a:pt x="174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4" name="Freeform 139"/>
              <p:cNvSpPr>
                <a:spLocks/>
              </p:cNvSpPr>
              <p:nvPr userDrawn="1"/>
            </p:nvSpPr>
            <p:spPr bwMode="auto">
              <a:xfrm>
                <a:off x="1147762" y="4262438"/>
                <a:ext cx="592138" cy="592138"/>
              </a:xfrm>
              <a:custGeom>
                <a:avLst/>
                <a:gdLst>
                  <a:gd name="T0" fmla="*/ 0 w 161"/>
                  <a:gd name="T1" fmla="*/ 0 h 161"/>
                  <a:gd name="T2" fmla="*/ 161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0"/>
                    </a:moveTo>
                    <a:cubicBezTo>
                      <a:pt x="0" y="89"/>
                      <a:pt x="72" y="161"/>
                      <a:pt x="161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5" name="Freeform 140"/>
              <p:cNvSpPr>
                <a:spLocks/>
              </p:cNvSpPr>
              <p:nvPr userDrawn="1"/>
            </p:nvSpPr>
            <p:spPr bwMode="auto">
              <a:xfrm>
                <a:off x="1195387" y="4262438"/>
                <a:ext cx="544513" cy="544513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2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6" name="Freeform 141"/>
              <p:cNvSpPr>
                <a:spLocks/>
              </p:cNvSpPr>
              <p:nvPr userDrawn="1"/>
            </p:nvSpPr>
            <p:spPr bwMode="auto">
              <a:xfrm>
                <a:off x="1243012" y="4262438"/>
                <a:ext cx="496888" cy="496888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5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7" name="Freeform 142"/>
              <p:cNvSpPr>
                <a:spLocks/>
              </p:cNvSpPr>
              <p:nvPr userDrawn="1"/>
            </p:nvSpPr>
            <p:spPr bwMode="auto">
              <a:xfrm>
                <a:off x="1290637" y="4262438"/>
                <a:ext cx="449263" cy="449263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8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8" name="Freeform 143"/>
              <p:cNvSpPr>
                <a:spLocks/>
              </p:cNvSpPr>
              <p:nvPr userDrawn="1"/>
            </p:nvSpPr>
            <p:spPr bwMode="auto">
              <a:xfrm>
                <a:off x="1335087" y="4262438"/>
                <a:ext cx="404813" cy="401638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1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9" name="Freeform 144"/>
              <p:cNvSpPr>
                <a:spLocks/>
              </p:cNvSpPr>
              <p:nvPr userDrawn="1"/>
            </p:nvSpPr>
            <p:spPr bwMode="auto">
              <a:xfrm>
                <a:off x="1382712" y="4262438"/>
                <a:ext cx="357188" cy="357188"/>
              </a:xfrm>
              <a:custGeom>
                <a:avLst/>
                <a:gdLst>
                  <a:gd name="T0" fmla="*/ 0 w 97"/>
                  <a:gd name="T1" fmla="*/ 0 h 97"/>
                  <a:gd name="T2" fmla="*/ 97 w 97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0"/>
                    </a:moveTo>
                    <a:cubicBezTo>
                      <a:pt x="0" y="53"/>
                      <a:pt x="43" y="97"/>
                      <a:pt x="97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0" name="Freeform 145"/>
              <p:cNvSpPr>
                <a:spLocks/>
              </p:cNvSpPr>
              <p:nvPr userDrawn="1"/>
            </p:nvSpPr>
            <p:spPr bwMode="auto">
              <a:xfrm>
                <a:off x="1430337" y="4262438"/>
                <a:ext cx="309563" cy="309563"/>
              </a:xfrm>
              <a:custGeom>
                <a:avLst/>
                <a:gdLst>
                  <a:gd name="T0" fmla="*/ 0 w 84"/>
                  <a:gd name="T1" fmla="*/ 0 h 84"/>
                  <a:gd name="T2" fmla="*/ 84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0"/>
                    </a:moveTo>
                    <a:cubicBezTo>
                      <a:pt x="0" y="46"/>
                      <a:pt x="38" y="84"/>
                      <a:pt x="84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1" name="Freeform 146"/>
              <p:cNvSpPr>
                <a:spLocks/>
              </p:cNvSpPr>
              <p:nvPr userDrawn="1"/>
            </p:nvSpPr>
            <p:spPr bwMode="auto">
              <a:xfrm>
                <a:off x="1477962" y="4262438"/>
                <a:ext cx="261938" cy="261938"/>
              </a:xfrm>
              <a:custGeom>
                <a:avLst/>
                <a:gdLst>
                  <a:gd name="T0" fmla="*/ 0 w 71"/>
                  <a:gd name="T1" fmla="*/ 0 h 71"/>
                  <a:gd name="T2" fmla="*/ 71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0" y="39"/>
                      <a:pt x="32" y="71"/>
                      <a:pt x="71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2" name="Freeform 147"/>
              <p:cNvSpPr>
                <a:spLocks/>
              </p:cNvSpPr>
              <p:nvPr userDrawn="1"/>
            </p:nvSpPr>
            <p:spPr bwMode="auto">
              <a:xfrm>
                <a:off x="1525587" y="4262438"/>
                <a:ext cx="214313" cy="214313"/>
              </a:xfrm>
              <a:custGeom>
                <a:avLst/>
                <a:gdLst>
                  <a:gd name="T0" fmla="*/ 0 w 58"/>
                  <a:gd name="T1" fmla="*/ 0 h 58"/>
                  <a:gd name="T2" fmla="*/ 58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0"/>
                    </a:moveTo>
                    <a:cubicBezTo>
                      <a:pt x="0" y="32"/>
                      <a:pt x="26" y="58"/>
                      <a:pt x="58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3" name="Freeform 148"/>
              <p:cNvSpPr>
                <a:spLocks/>
              </p:cNvSpPr>
              <p:nvPr userDrawn="1"/>
            </p:nvSpPr>
            <p:spPr bwMode="auto">
              <a:xfrm>
                <a:off x="1573212" y="4262438"/>
                <a:ext cx="166688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5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4" name="Freeform 149"/>
              <p:cNvSpPr>
                <a:spLocks/>
              </p:cNvSpPr>
              <p:nvPr userDrawn="1"/>
            </p:nvSpPr>
            <p:spPr bwMode="auto">
              <a:xfrm>
                <a:off x="1622425" y="42624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8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5" name="Freeform 150"/>
              <p:cNvSpPr>
                <a:spLocks/>
              </p:cNvSpPr>
              <p:nvPr userDrawn="1"/>
            </p:nvSpPr>
            <p:spPr bwMode="auto">
              <a:xfrm>
                <a:off x="1665287" y="4262438"/>
                <a:ext cx="74613" cy="69850"/>
              </a:xfrm>
              <a:custGeom>
                <a:avLst/>
                <a:gdLst>
                  <a:gd name="T0" fmla="*/ 0 w 20"/>
                  <a:gd name="T1" fmla="*/ 0 h 19"/>
                  <a:gd name="T2" fmla="*/ 20 w 20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0" y="0"/>
                    </a:moveTo>
                    <a:cubicBezTo>
                      <a:pt x="0" y="11"/>
                      <a:pt x="9" y="19"/>
                      <a:pt x="2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6" name="Freeform 151"/>
              <p:cNvSpPr>
                <a:spLocks/>
              </p:cNvSpPr>
              <p:nvPr userDrawn="1"/>
            </p:nvSpPr>
            <p:spPr bwMode="auto">
              <a:xfrm>
                <a:off x="1712912" y="4262438"/>
                <a:ext cx="26988" cy="25400"/>
              </a:xfrm>
              <a:custGeom>
                <a:avLst/>
                <a:gdLst>
                  <a:gd name="T0" fmla="*/ 0 w 7"/>
                  <a:gd name="T1" fmla="*/ 0 h 7"/>
                  <a:gd name="T2" fmla="*/ 7 w 7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0" y="0"/>
                    </a:moveTo>
                    <a:cubicBezTo>
                      <a:pt x="0" y="4"/>
                      <a:pt x="3" y="7"/>
                      <a:pt x="7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7" name="Freeform 152"/>
              <p:cNvSpPr>
                <a:spLocks/>
              </p:cNvSpPr>
              <p:nvPr userDrawn="1"/>
            </p:nvSpPr>
            <p:spPr bwMode="auto">
              <a:xfrm>
                <a:off x="1739900" y="4262438"/>
                <a:ext cx="966788" cy="971550"/>
              </a:xfrm>
              <a:custGeom>
                <a:avLst/>
                <a:gdLst>
                  <a:gd name="T0" fmla="*/ 263 w 263"/>
                  <a:gd name="T1" fmla="*/ 0 h 264"/>
                  <a:gd name="T2" fmla="*/ 0 w 263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263" y="0"/>
                    </a:moveTo>
                    <a:cubicBezTo>
                      <a:pt x="118" y="0"/>
                      <a:pt x="0" y="118"/>
                      <a:pt x="0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8" name="Freeform 153"/>
              <p:cNvSpPr>
                <a:spLocks/>
              </p:cNvSpPr>
              <p:nvPr userDrawn="1"/>
            </p:nvSpPr>
            <p:spPr bwMode="auto">
              <a:xfrm>
                <a:off x="1787525" y="4310063"/>
                <a:ext cx="919163" cy="923925"/>
              </a:xfrm>
              <a:custGeom>
                <a:avLst/>
                <a:gdLst>
                  <a:gd name="T0" fmla="*/ 250 w 250"/>
                  <a:gd name="T1" fmla="*/ 0 h 251"/>
                  <a:gd name="T2" fmla="*/ 0 w 250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0" h="251">
                    <a:moveTo>
                      <a:pt x="250" y="0"/>
                    </a:moveTo>
                    <a:cubicBezTo>
                      <a:pt x="112" y="0"/>
                      <a:pt x="0" y="112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9" name="Freeform 154"/>
              <p:cNvSpPr>
                <a:spLocks/>
              </p:cNvSpPr>
              <p:nvPr userDrawn="1"/>
            </p:nvSpPr>
            <p:spPr bwMode="auto">
              <a:xfrm>
                <a:off x="1831975" y="4357688"/>
                <a:ext cx="874713" cy="876300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7" y="0"/>
                      <a:pt x="0" y="106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0" name="Freeform 155"/>
              <p:cNvSpPr>
                <a:spLocks/>
              </p:cNvSpPr>
              <p:nvPr userDrawn="1"/>
            </p:nvSpPr>
            <p:spPr bwMode="auto">
              <a:xfrm>
                <a:off x="1879600" y="4405313"/>
                <a:ext cx="827088" cy="828675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0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1" name="Freeform 156"/>
              <p:cNvSpPr>
                <a:spLocks/>
              </p:cNvSpPr>
              <p:nvPr userDrawn="1"/>
            </p:nvSpPr>
            <p:spPr bwMode="auto">
              <a:xfrm>
                <a:off x="1927225" y="4454526"/>
                <a:ext cx="779463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2" name="Freeform 157"/>
              <p:cNvSpPr>
                <a:spLocks/>
              </p:cNvSpPr>
              <p:nvPr userDrawn="1"/>
            </p:nvSpPr>
            <p:spPr bwMode="auto">
              <a:xfrm>
                <a:off x="1974850" y="4497388"/>
                <a:ext cx="731838" cy="736600"/>
              </a:xfrm>
              <a:custGeom>
                <a:avLst/>
                <a:gdLst>
                  <a:gd name="T0" fmla="*/ 199 w 199"/>
                  <a:gd name="T1" fmla="*/ 0 h 200"/>
                  <a:gd name="T2" fmla="*/ 0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0"/>
                    </a:moveTo>
                    <a:cubicBezTo>
                      <a:pt x="89" y="0"/>
                      <a:pt x="0" y="90"/>
                      <a:pt x="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3" name="Freeform 158"/>
              <p:cNvSpPr>
                <a:spLocks/>
              </p:cNvSpPr>
              <p:nvPr userDrawn="1"/>
            </p:nvSpPr>
            <p:spPr bwMode="auto">
              <a:xfrm>
                <a:off x="2022475" y="4546601"/>
                <a:ext cx="684213" cy="687388"/>
              </a:xfrm>
              <a:custGeom>
                <a:avLst/>
                <a:gdLst>
                  <a:gd name="T0" fmla="*/ 186 w 186"/>
                  <a:gd name="T1" fmla="*/ 0 h 187"/>
                  <a:gd name="T2" fmla="*/ 0 w 186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186" y="0"/>
                    </a:moveTo>
                    <a:cubicBezTo>
                      <a:pt x="83" y="0"/>
                      <a:pt x="0" y="84"/>
                      <a:pt x="0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4" name="Freeform 159"/>
              <p:cNvSpPr>
                <a:spLocks/>
              </p:cNvSpPr>
              <p:nvPr userDrawn="1"/>
            </p:nvSpPr>
            <p:spPr bwMode="auto">
              <a:xfrm>
                <a:off x="2070100" y="4594226"/>
                <a:ext cx="636588" cy="639763"/>
              </a:xfrm>
              <a:custGeom>
                <a:avLst/>
                <a:gdLst>
                  <a:gd name="T0" fmla="*/ 173 w 173"/>
                  <a:gd name="T1" fmla="*/ 0 h 174"/>
                  <a:gd name="T2" fmla="*/ 0 w 173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173" y="0"/>
                    </a:moveTo>
                    <a:cubicBezTo>
                      <a:pt x="77" y="0"/>
                      <a:pt x="0" y="78"/>
                      <a:pt x="0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5" name="Freeform 160"/>
              <p:cNvSpPr>
                <a:spLocks/>
              </p:cNvSpPr>
              <p:nvPr userDrawn="1"/>
            </p:nvSpPr>
            <p:spPr bwMode="auto">
              <a:xfrm>
                <a:off x="2117725" y="4641851"/>
                <a:ext cx="588963" cy="592138"/>
              </a:xfrm>
              <a:custGeom>
                <a:avLst/>
                <a:gdLst>
                  <a:gd name="T0" fmla="*/ 160 w 160"/>
                  <a:gd name="T1" fmla="*/ 0 h 161"/>
                  <a:gd name="T2" fmla="*/ 0 w 160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0" h="161">
                    <a:moveTo>
                      <a:pt x="160" y="0"/>
                    </a:moveTo>
                    <a:cubicBezTo>
                      <a:pt x="72" y="0"/>
                      <a:pt x="0" y="72"/>
                      <a:pt x="0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6" name="Freeform 161"/>
              <p:cNvSpPr>
                <a:spLocks/>
              </p:cNvSpPr>
              <p:nvPr userDrawn="1"/>
            </p:nvSpPr>
            <p:spPr bwMode="auto">
              <a:xfrm>
                <a:off x="2165350" y="4689476"/>
                <a:ext cx="541338" cy="544513"/>
              </a:xfrm>
              <a:custGeom>
                <a:avLst/>
                <a:gdLst>
                  <a:gd name="T0" fmla="*/ 147 w 147"/>
                  <a:gd name="T1" fmla="*/ 0 h 148"/>
                  <a:gd name="T2" fmla="*/ 0 w 147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7" h="148">
                    <a:moveTo>
                      <a:pt x="147" y="0"/>
                    </a:moveTo>
                    <a:cubicBezTo>
                      <a:pt x="66" y="0"/>
                      <a:pt x="0" y="66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7" name="Freeform 162"/>
              <p:cNvSpPr>
                <a:spLocks/>
              </p:cNvSpPr>
              <p:nvPr userDrawn="1"/>
            </p:nvSpPr>
            <p:spPr bwMode="auto">
              <a:xfrm>
                <a:off x="2209800" y="4737101"/>
                <a:ext cx="496888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1" y="0"/>
                      <a:pt x="0" y="60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8" name="Freeform 163"/>
              <p:cNvSpPr>
                <a:spLocks/>
              </p:cNvSpPr>
              <p:nvPr userDrawn="1"/>
            </p:nvSpPr>
            <p:spPr bwMode="auto">
              <a:xfrm>
                <a:off x="2257425" y="4784726"/>
                <a:ext cx="449263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5" y="0"/>
                      <a:pt x="0" y="54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9" name="Freeform 164"/>
              <p:cNvSpPr>
                <a:spLocks/>
              </p:cNvSpPr>
              <p:nvPr userDrawn="1"/>
            </p:nvSpPr>
            <p:spPr bwMode="auto">
              <a:xfrm>
                <a:off x="2305050" y="4829176"/>
                <a:ext cx="401638" cy="404813"/>
              </a:xfrm>
              <a:custGeom>
                <a:avLst/>
                <a:gdLst>
                  <a:gd name="T0" fmla="*/ 109 w 109"/>
                  <a:gd name="T1" fmla="*/ 0 h 110"/>
                  <a:gd name="T2" fmla="*/ 0 w 109"/>
                  <a:gd name="T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0"/>
                    </a:moveTo>
                    <a:cubicBezTo>
                      <a:pt x="49" y="0"/>
                      <a:pt x="0" y="49"/>
                      <a:pt x="0" y="11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0" name="Freeform 165"/>
              <p:cNvSpPr>
                <a:spLocks/>
              </p:cNvSpPr>
              <p:nvPr userDrawn="1"/>
            </p:nvSpPr>
            <p:spPr bwMode="auto">
              <a:xfrm>
                <a:off x="2352675" y="4876801"/>
                <a:ext cx="354013" cy="357188"/>
              </a:xfrm>
              <a:custGeom>
                <a:avLst/>
                <a:gdLst>
                  <a:gd name="T0" fmla="*/ 96 w 96"/>
                  <a:gd name="T1" fmla="*/ 0 h 97"/>
                  <a:gd name="T2" fmla="*/ 0 w 96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96" y="0"/>
                    </a:moveTo>
                    <a:cubicBezTo>
                      <a:pt x="43" y="0"/>
                      <a:pt x="0" y="44"/>
                      <a:pt x="0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1" name="Freeform 166"/>
              <p:cNvSpPr>
                <a:spLocks/>
              </p:cNvSpPr>
              <p:nvPr userDrawn="1"/>
            </p:nvSpPr>
            <p:spPr bwMode="auto">
              <a:xfrm>
                <a:off x="2400300" y="4924426"/>
                <a:ext cx="306388" cy="309563"/>
              </a:xfrm>
              <a:custGeom>
                <a:avLst/>
                <a:gdLst>
                  <a:gd name="T0" fmla="*/ 83 w 83"/>
                  <a:gd name="T1" fmla="*/ 0 h 84"/>
                  <a:gd name="T2" fmla="*/ 0 w 83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83" y="0"/>
                    </a:moveTo>
                    <a:cubicBezTo>
                      <a:pt x="37" y="0"/>
                      <a:pt x="0" y="38"/>
                      <a:pt x="0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2" name="Freeform 167"/>
              <p:cNvSpPr>
                <a:spLocks/>
              </p:cNvSpPr>
              <p:nvPr userDrawn="1"/>
            </p:nvSpPr>
            <p:spPr bwMode="auto">
              <a:xfrm>
                <a:off x="2447925" y="4972051"/>
                <a:ext cx="258763" cy="261938"/>
              </a:xfrm>
              <a:custGeom>
                <a:avLst/>
                <a:gdLst>
                  <a:gd name="T0" fmla="*/ 70 w 70"/>
                  <a:gd name="T1" fmla="*/ 0 h 71"/>
                  <a:gd name="T2" fmla="*/ 0 w 70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70" y="0"/>
                    </a:moveTo>
                    <a:cubicBezTo>
                      <a:pt x="31" y="0"/>
                      <a:pt x="0" y="32"/>
                      <a:pt x="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3" name="Freeform 168"/>
              <p:cNvSpPr>
                <a:spLocks/>
              </p:cNvSpPr>
              <p:nvPr userDrawn="1"/>
            </p:nvSpPr>
            <p:spPr bwMode="auto">
              <a:xfrm>
                <a:off x="2497137" y="5021263"/>
                <a:ext cx="209550" cy="212725"/>
              </a:xfrm>
              <a:custGeom>
                <a:avLst/>
                <a:gdLst>
                  <a:gd name="T0" fmla="*/ 57 w 57"/>
                  <a:gd name="T1" fmla="*/ 0 h 58"/>
                  <a:gd name="T2" fmla="*/ 0 w 57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7" h="58">
                    <a:moveTo>
                      <a:pt x="57" y="0"/>
                    </a:moveTo>
                    <a:cubicBezTo>
                      <a:pt x="25" y="0"/>
                      <a:pt x="0" y="26"/>
                      <a:pt x="0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4" name="Freeform 169"/>
              <p:cNvSpPr>
                <a:spLocks/>
              </p:cNvSpPr>
              <p:nvPr userDrawn="1"/>
            </p:nvSpPr>
            <p:spPr bwMode="auto">
              <a:xfrm>
                <a:off x="2540000" y="5068888"/>
                <a:ext cx="166688" cy="165100"/>
              </a:xfrm>
              <a:custGeom>
                <a:avLst/>
                <a:gdLst>
                  <a:gd name="T0" fmla="*/ 45 w 45"/>
                  <a:gd name="T1" fmla="*/ 0 h 45"/>
                  <a:gd name="T2" fmla="*/ 0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0"/>
                    </a:moveTo>
                    <a:cubicBezTo>
                      <a:pt x="21" y="0"/>
                      <a:pt x="0" y="20"/>
                      <a:pt x="0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5" name="Freeform 170"/>
              <p:cNvSpPr>
                <a:spLocks/>
              </p:cNvSpPr>
              <p:nvPr userDrawn="1"/>
            </p:nvSpPr>
            <p:spPr bwMode="auto">
              <a:xfrm>
                <a:off x="2587625" y="5116513"/>
                <a:ext cx="119063" cy="117475"/>
              </a:xfrm>
              <a:custGeom>
                <a:avLst/>
                <a:gdLst>
                  <a:gd name="T0" fmla="*/ 32 w 32"/>
                  <a:gd name="T1" fmla="*/ 0 h 32"/>
                  <a:gd name="T2" fmla="*/ 0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0"/>
                    </a:moveTo>
                    <a:cubicBezTo>
                      <a:pt x="15" y="0"/>
                      <a:pt x="0" y="14"/>
                      <a:pt x="0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6" name="Freeform 171"/>
              <p:cNvSpPr>
                <a:spLocks/>
              </p:cNvSpPr>
              <p:nvPr userDrawn="1"/>
            </p:nvSpPr>
            <p:spPr bwMode="auto">
              <a:xfrm>
                <a:off x="2636837" y="5164138"/>
                <a:ext cx="69850" cy="69850"/>
              </a:xfrm>
              <a:custGeom>
                <a:avLst/>
                <a:gdLst>
                  <a:gd name="T0" fmla="*/ 19 w 19"/>
                  <a:gd name="T1" fmla="*/ 0 h 19"/>
                  <a:gd name="T2" fmla="*/ 0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0"/>
                    </a:moveTo>
                    <a:cubicBezTo>
                      <a:pt x="9" y="0"/>
                      <a:pt x="0" y="8"/>
                      <a:pt x="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7" name="Freeform 172"/>
              <p:cNvSpPr>
                <a:spLocks/>
              </p:cNvSpPr>
              <p:nvPr userDrawn="1"/>
            </p:nvSpPr>
            <p:spPr bwMode="auto">
              <a:xfrm>
                <a:off x="2684462" y="5208588"/>
                <a:ext cx="22225" cy="25400"/>
              </a:xfrm>
              <a:custGeom>
                <a:avLst/>
                <a:gdLst>
                  <a:gd name="T0" fmla="*/ 6 w 6"/>
                  <a:gd name="T1" fmla="*/ 0 h 7"/>
                  <a:gd name="T2" fmla="*/ 0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0"/>
                    </a:moveTo>
                    <a:cubicBezTo>
                      <a:pt x="3" y="0"/>
                      <a:pt x="0" y="3"/>
                      <a:pt x="0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8" name="Freeform 173"/>
              <p:cNvSpPr>
                <a:spLocks/>
              </p:cNvSpPr>
              <p:nvPr userDrawn="1"/>
            </p:nvSpPr>
            <p:spPr bwMode="auto">
              <a:xfrm>
                <a:off x="-201613" y="32908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9" name="Freeform 174"/>
              <p:cNvSpPr>
                <a:spLocks/>
              </p:cNvSpPr>
              <p:nvPr userDrawn="1"/>
            </p:nvSpPr>
            <p:spPr bwMode="auto">
              <a:xfrm>
                <a:off x="-201613" y="33385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0" name="Freeform 175"/>
              <p:cNvSpPr>
                <a:spLocks/>
              </p:cNvSpPr>
              <p:nvPr userDrawn="1"/>
            </p:nvSpPr>
            <p:spPr bwMode="auto">
              <a:xfrm>
                <a:off x="-201613" y="3387726"/>
                <a:ext cx="874713" cy="874713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7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1" name="Freeform 176"/>
              <p:cNvSpPr>
                <a:spLocks/>
              </p:cNvSpPr>
              <p:nvPr userDrawn="1"/>
            </p:nvSpPr>
            <p:spPr bwMode="auto">
              <a:xfrm>
                <a:off x="-201613" y="3435351"/>
                <a:ext cx="827088" cy="827088"/>
              </a:xfrm>
              <a:custGeom>
                <a:avLst/>
                <a:gdLst>
                  <a:gd name="T0" fmla="*/ 225 w 225"/>
                  <a:gd name="T1" fmla="*/ 225 h 225"/>
                  <a:gd name="T2" fmla="*/ 0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225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2" name="Freeform 177"/>
              <p:cNvSpPr>
                <a:spLocks/>
              </p:cNvSpPr>
              <p:nvPr userDrawn="1"/>
            </p:nvSpPr>
            <p:spPr bwMode="auto">
              <a:xfrm>
                <a:off x="-201613" y="3482976"/>
                <a:ext cx="782638" cy="779463"/>
              </a:xfrm>
              <a:custGeom>
                <a:avLst/>
                <a:gdLst>
                  <a:gd name="T0" fmla="*/ 213 w 213"/>
                  <a:gd name="T1" fmla="*/ 212 h 212"/>
                  <a:gd name="T2" fmla="*/ 0 w 213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213" y="212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3" name="Freeform 178"/>
              <p:cNvSpPr>
                <a:spLocks/>
              </p:cNvSpPr>
              <p:nvPr userDrawn="1"/>
            </p:nvSpPr>
            <p:spPr bwMode="auto">
              <a:xfrm>
                <a:off x="-201613" y="3530601"/>
                <a:ext cx="735013" cy="731838"/>
              </a:xfrm>
              <a:custGeom>
                <a:avLst/>
                <a:gdLst>
                  <a:gd name="T0" fmla="*/ 200 w 200"/>
                  <a:gd name="T1" fmla="*/ 199 h 199"/>
                  <a:gd name="T2" fmla="*/ 0 w 200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200" y="199"/>
                    </a:moveTo>
                    <a:cubicBezTo>
                      <a:pt x="200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4" name="Freeform 179"/>
              <p:cNvSpPr>
                <a:spLocks/>
              </p:cNvSpPr>
              <p:nvPr userDrawn="1"/>
            </p:nvSpPr>
            <p:spPr bwMode="auto">
              <a:xfrm>
                <a:off x="-201613" y="3578226"/>
                <a:ext cx="687388" cy="684213"/>
              </a:xfrm>
              <a:custGeom>
                <a:avLst/>
                <a:gdLst>
                  <a:gd name="T0" fmla="*/ 187 w 187"/>
                  <a:gd name="T1" fmla="*/ 186 h 186"/>
                  <a:gd name="T2" fmla="*/ 0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186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5" name="Freeform 180"/>
              <p:cNvSpPr>
                <a:spLocks/>
              </p:cNvSpPr>
              <p:nvPr userDrawn="1"/>
            </p:nvSpPr>
            <p:spPr bwMode="auto">
              <a:xfrm>
                <a:off x="-201613" y="3622676"/>
                <a:ext cx="639763" cy="639763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6" name="Freeform 181"/>
              <p:cNvSpPr>
                <a:spLocks/>
              </p:cNvSpPr>
              <p:nvPr userDrawn="1"/>
            </p:nvSpPr>
            <p:spPr bwMode="auto">
              <a:xfrm>
                <a:off x="-201613" y="3670301"/>
                <a:ext cx="592138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7" name="Freeform 182"/>
              <p:cNvSpPr>
                <a:spLocks/>
              </p:cNvSpPr>
              <p:nvPr userDrawn="1"/>
            </p:nvSpPr>
            <p:spPr bwMode="auto">
              <a:xfrm>
                <a:off x="-201613" y="3717926"/>
                <a:ext cx="544513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8" name="Freeform 183"/>
              <p:cNvSpPr>
                <a:spLocks/>
              </p:cNvSpPr>
              <p:nvPr userDrawn="1"/>
            </p:nvSpPr>
            <p:spPr bwMode="auto">
              <a:xfrm>
                <a:off x="-201613" y="3765551"/>
                <a:ext cx="496888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9" name="Freeform 184"/>
              <p:cNvSpPr>
                <a:spLocks/>
              </p:cNvSpPr>
              <p:nvPr userDrawn="1"/>
            </p:nvSpPr>
            <p:spPr bwMode="auto">
              <a:xfrm>
                <a:off x="-201613" y="3813176"/>
                <a:ext cx="449263" cy="449263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0" name="Freeform 185"/>
              <p:cNvSpPr>
                <a:spLocks/>
              </p:cNvSpPr>
              <p:nvPr userDrawn="1"/>
            </p:nvSpPr>
            <p:spPr bwMode="auto">
              <a:xfrm>
                <a:off x="-201613" y="3862388"/>
                <a:ext cx="404813" cy="400050"/>
              </a:xfrm>
              <a:custGeom>
                <a:avLst/>
                <a:gdLst>
                  <a:gd name="T0" fmla="*/ 110 w 110"/>
                  <a:gd name="T1" fmla="*/ 109 h 109"/>
                  <a:gd name="T2" fmla="*/ 0 w 110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110" y="109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1" name="Freeform 186"/>
              <p:cNvSpPr>
                <a:spLocks/>
              </p:cNvSpPr>
              <p:nvPr userDrawn="1"/>
            </p:nvSpPr>
            <p:spPr bwMode="auto">
              <a:xfrm>
                <a:off x="-201613" y="3910013"/>
                <a:ext cx="357188" cy="352425"/>
              </a:xfrm>
              <a:custGeom>
                <a:avLst/>
                <a:gdLst>
                  <a:gd name="T0" fmla="*/ 97 w 97"/>
                  <a:gd name="T1" fmla="*/ 96 h 96"/>
                  <a:gd name="T2" fmla="*/ 0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97" y="96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2" name="Freeform 187"/>
              <p:cNvSpPr>
                <a:spLocks/>
              </p:cNvSpPr>
              <p:nvPr userDrawn="1"/>
            </p:nvSpPr>
            <p:spPr bwMode="auto">
              <a:xfrm>
                <a:off x="-201613" y="3952876"/>
                <a:ext cx="309563" cy="309563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8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3" name="Freeform 188"/>
              <p:cNvSpPr>
                <a:spLocks/>
              </p:cNvSpPr>
              <p:nvPr userDrawn="1"/>
            </p:nvSpPr>
            <p:spPr bwMode="auto">
              <a:xfrm>
                <a:off x="-201613" y="4002088"/>
                <a:ext cx="261938" cy="260350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2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4" name="Freeform 189"/>
              <p:cNvSpPr>
                <a:spLocks/>
              </p:cNvSpPr>
              <p:nvPr userDrawn="1"/>
            </p:nvSpPr>
            <p:spPr bwMode="auto">
              <a:xfrm>
                <a:off x="-201613" y="4049713"/>
                <a:ext cx="214313" cy="212725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5" name="Freeform 190"/>
              <p:cNvSpPr>
                <a:spLocks/>
              </p:cNvSpPr>
              <p:nvPr userDrawn="1"/>
            </p:nvSpPr>
            <p:spPr bwMode="auto">
              <a:xfrm>
                <a:off x="-201613" y="4097338"/>
                <a:ext cx="165100" cy="165100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6" name="Freeform 191"/>
              <p:cNvSpPr>
                <a:spLocks/>
              </p:cNvSpPr>
              <p:nvPr userDrawn="1"/>
            </p:nvSpPr>
            <p:spPr bwMode="auto">
              <a:xfrm>
                <a:off x="-201613" y="4144963"/>
                <a:ext cx="117475" cy="117475"/>
              </a:xfrm>
              <a:custGeom>
                <a:avLst/>
                <a:gdLst>
                  <a:gd name="T0" fmla="*/ 32 w 32"/>
                  <a:gd name="T1" fmla="*/ 32 h 32"/>
                  <a:gd name="T2" fmla="*/ 0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32"/>
                    </a:moveTo>
                    <a:cubicBezTo>
                      <a:pt x="32" y="14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7" name="Freeform 192"/>
              <p:cNvSpPr>
                <a:spLocks/>
              </p:cNvSpPr>
              <p:nvPr userDrawn="1"/>
            </p:nvSpPr>
            <p:spPr bwMode="auto">
              <a:xfrm>
                <a:off x="-201613" y="4192588"/>
                <a:ext cx="74613" cy="69850"/>
              </a:xfrm>
              <a:custGeom>
                <a:avLst/>
                <a:gdLst>
                  <a:gd name="T0" fmla="*/ 20 w 20"/>
                  <a:gd name="T1" fmla="*/ 19 h 19"/>
                  <a:gd name="T2" fmla="*/ 0 w 20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20" y="19"/>
                    </a:moveTo>
                    <a:cubicBezTo>
                      <a:pt x="20" y="8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8" name="Freeform 193"/>
              <p:cNvSpPr>
                <a:spLocks/>
              </p:cNvSpPr>
              <p:nvPr userDrawn="1"/>
            </p:nvSpPr>
            <p:spPr bwMode="auto">
              <a:xfrm>
                <a:off x="-201613" y="4240213"/>
                <a:ext cx="26988" cy="22225"/>
              </a:xfrm>
              <a:custGeom>
                <a:avLst/>
                <a:gdLst>
                  <a:gd name="T0" fmla="*/ 7 w 7"/>
                  <a:gd name="T1" fmla="*/ 6 h 6"/>
                  <a:gd name="T2" fmla="*/ 0 w 7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9" name="Freeform 194"/>
              <p:cNvSpPr>
                <a:spLocks/>
              </p:cNvSpPr>
              <p:nvPr userDrawn="1"/>
            </p:nvSpPr>
            <p:spPr bwMode="auto">
              <a:xfrm>
                <a:off x="-201613" y="4262438"/>
                <a:ext cx="969963" cy="971550"/>
              </a:xfrm>
              <a:custGeom>
                <a:avLst/>
                <a:gdLst>
                  <a:gd name="T0" fmla="*/ 264 w 264"/>
                  <a:gd name="T1" fmla="*/ 0 h 264"/>
                  <a:gd name="T2" fmla="*/ 0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0"/>
                    </a:moveTo>
                    <a:cubicBezTo>
                      <a:pt x="118" y="0"/>
                      <a:pt x="0" y="118"/>
                      <a:pt x="0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0" name="Freeform 195"/>
              <p:cNvSpPr>
                <a:spLocks/>
              </p:cNvSpPr>
              <p:nvPr userDrawn="1"/>
            </p:nvSpPr>
            <p:spPr bwMode="auto">
              <a:xfrm>
                <a:off x="-153988" y="4310063"/>
                <a:ext cx="922338" cy="923925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2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1" name="Freeform 196"/>
              <p:cNvSpPr>
                <a:spLocks/>
              </p:cNvSpPr>
              <p:nvPr userDrawn="1"/>
            </p:nvSpPr>
            <p:spPr bwMode="auto">
              <a:xfrm>
                <a:off x="-104776" y="4357688"/>
                <a:ext cx="873125" cy="876300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6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2" name="Freeform 197"/>
              <p:cNvSpPr>
                <a:spLocks/>
              </p:cNvSpPr>
              <p:nvPr userDrawn="1"/>
            </p:nvSpPr>
            <p:spPr bwMode="auto">
              <a:xfrm>
                <a:off x="-57151" y="4405313"/>
                <a:ext cx="825500" cy="828675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0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3" name="Freeform 198"/>
              <p:cNvSpPr>
                <a:spLocks/>
              </p:cNvSpPr>
              <p:nvPr userDrawn="1"/>
            </p:nvSpPr>
            <p:spPr bwMode="auto">
              <a:xfrm>
                <a:off x="-9526" y="4454526"/>
                <a:ext cx="777875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4" name="Freeform 199"/>
              <p:cNvSpPr>
                <a:spLocks/>
              </p:cNvSpPr>
              <p:nvPr userDrawn="1"/>
            </p:nvSpPr>
            <p:spPr bwMode="auto">
              <a:xfrm>
                <a:off x="38100" y="4497388"/>
                <a:ext cx="730250" cy="736600"/>
              </a:xfrm>
              <a:custGeom>
                <a:avLst/>
                <a:gdLst>
                  <a:gd name="T0" fmla="*/ 199 w 199"/>
                  <a:gd name="T1" fmla="*/ 0 h 200"/>
                  <a:gd name="T2" fmla="*/ 0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0"/>
                    </a:moveTo>
                    <a:cubicBezTo>
                      <a:pt x="89" y="0"/>
                      <a:pt x="0" y="90"/>
                      <a:pt x="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5" name="Freeform 200"/>
              <p:cNvSpPr>
                <a:spLocks/>
              </p:cNvSpPr>
              <p:nvPr userDrawn="1"/>
            </p:nvSpPr>
            <p:spPr bwMode="auto">
              <a:xfrm>
                <a:off x="82550" y="4546601"/>
                <a:ext cx="685800" cy="687388"/>
              </a:xfrm>
              <a:custGeom>
                <a:avLst/>
                <a:gdLst>
                  <a:gd name="T0" fmla="*/ 187 w 187"/>
                  <a:gd name="T1" fmla="*/ 0 h 187"/>
                  <a:gd name="T2" fmla="*/ 0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0"/>
                    </a:moveTo>
                    <a:cubicBezTo>
                      <a:pt x="84" y="0"/>
                      <a:pt x="0" y="84"/>
                      <a:pt x="0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6" name="Freeform 201"/>
              <p:cNvSpPr>
                <a:spLocks/>
              </p:cNvSpPr>
              <p:nvPr userDrawn="1"/>
            </p:nvSpPr>
            <p:spPr bwMode="auto">
              <a:xfrm>
                <a:off x="130175" y="4594226"/>
                <a:ext cx="638175" cy="639763"/>
              </a:xfrm>
              <a:custGeom>
                <a:avLst/>
                <a:gdLst>
                  <a:gd name="T0" fmla="*/ 174 w 174"/>
                  <a:gd name="T1" fmla="*/ 0 h 174"/>
                  <a:gd name="T2" fmla="*/ 0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7" name="Freeform 202"/>
              <p:cNvSpPr>
                <a:spLocks/>
              </p:cNvSpPr>
              <p:nvPr userDrawn="1"/>
            </p:nvSpPr>
            <p:spPr bwMode="auto">
              <a:xfrm>
                <a:off x="177800" y="4641851"/>
                <a:ext cx="590550" cy="592138"/>
              </a:xfrm>
              <a:custGeom>
                <a:avLst/>
                <a:gdLst>
                  <a:gd name="T0" fmla="*/ 161 w 161"/>
                  <a:gd name="T1" fmla="*/ 0 h 161"/>
                  <a:gd name="T2" fmla="*/ 0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0"/>
                    </a:moveTo>
                    <a:cubicBezTo>
                      <a:pt x="72" y="0"/>
                      <a:pt x="0" y="72"/>
                      <a:pt x="0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8" name="Freeform 203"/>
              <p:cNvSpPr>
                <a:spLocks/>
              </p:cNvSpPr>
              <p:nvPr userDrawn="1"/>
            </p:nvSpPr>
            <p:spPr bwMode="auto">
              <a:xfrm>
                <a:off x="225425" y="4689476"/>
                <a:ext cx="542925" cy="544513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6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9" name="Freeform 204"/>
              <p:cNvSpPr>
                <a:spLocks/>
              </p:cNvSpPr>
              <p:nvPr userDrawn="1"/>
            </p:nvSpPr>
            <p:spPr bwMode="auto">
              <a:xfrm>
                <a:off x="273050" y="4737101"/>
                <a:ext cx="495300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0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0" name="Freeform 206"/>
              <p:cNvSpPr>
                <a:spLocks/>
              </p:cNvSpPr>
              <p:nvPr userDrawn="1"/>
            </p:nvSpPr>
            <p:spPr bwMode="auto">
              <a:xfrm>
                <a:off x="320675" y="4784725"/>
                <a:ext cx="447675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4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1" name="Freeform 207"/>
              <p:cNvSpPr>
                <a:spLocks/>
              </p:cNvSpPr>
              <p:nvPr userDrawn="1"/>
            </p:nvSpPr>
            <p:spPr bwMode="auto">
              <a:xfrm>
                <a:off x="368300" y="4829175"/>
                <a:ext cx="400050" cy="404813"/>
              </a:xfrm>
              <a:custGeom>
                <a:avLst/>
                <a:gdLst>
                  <a:gd name="T0" fmla="*/ 109 w 109"/>
                  <a:gd name="T1" fmla="*/ 0 h 110"/>
                  <a:gd name="T2" fmla="*/ 0 w 109"/>
                  <a:gd name="T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0"/>
                    </a:moveTo>
                    <a:cubicBezTo>
                      <a:pt x="49" y="0"/>
                      <a:pt x="0" y="49"/>
                      <a:pt x="0" y="11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2" name="Freeform 208"/>
              <p:cNvSpPr>
                <a:spLocks/>
              </p:cNvSpPr>
              <p:nvPr userDrawn="1"/>
            </p:nvSpPr>
            <p:spPr bwMode="auto">
              <a:xfrm>
                <a:off x="412750" y="4876800"/>
                <a:ext cx="355600" cy="357188"/>
              </a:xfrm>
              <a:custGeom>
                <a:avLst/>
                <a:gdLst>
                  <a:gd name="T0" fmla="*/ 97 w 97"/>
                  <a:gd name="T1" fmla="*/ 0 h 97"/>
                  <a:gd name="T2" fmla="*/ 0 w 97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97" y="0"/>
                    </a:moveTo>
                    <a:cubicBezTo>
                      <a:pt x="44" y="0"/>
                      <a:pt x="0" y="44"/>
                      <a:pt x="0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3" name="Freeform 209"/>
              <p:cNvSpPr>
                <a:spLocks/>
              </p:cNvSpPr>
              <p:nvPr userDrawn="1"/>
            </p:nvSpPr>
            <p:spPr bwMode="auto">
              <a:xfrm>
                <a:off x="460375" y="4924425"/>
                <a:ext cx="307975" cy="309563"/>
              </a:xfrm>
              <a:custGeom>
                <a:avLst/>
                <a:gdLst>
                  <a:gd name="T0" fmla="*/ 84 w 84"/>
                  <a:gd name="T1" fmla="*/ 0 h 84"/>
                  <a:gd name="T2" fmla="*/ 0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cubicBezTo>
                      <a:pt x="38" y="0"/>
                      <a:pt x="0" y="38"/>
                      <a:pt x="0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4" name="Freeform 210"/>
              <p:cNvSpPr>
                <a:spLocks/>
              </p:cNvSpPr>
              <p:nvPr userDrawn="1"/>
            </p:nvSpPr>
            <p:spPr bwMode="auto">
              <a:xfrm>
                <a:off x="508000" y="4972050"/>
                <a:ext cx="260350" cy="261938"/>
              </a:xfrm>
              <a:custGeom>
                <a:avLst/>
                <a:gdLst>
                  <a:gd name="T0" fmla="*/ 71 w 71"/>
                  <a:gd name="T1" fmla="*/ 0 h 71"/>
                  <a:gd name="T2" fmla="*/ 0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32" y="0"/>
                      <a:pt x="0" y="32"/>
                      <a:pt x="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5" name="Freeform 211"/>
              <p:cNvSpPr>
                <a:spLocks/>
              </p:cNvSpPr>
              <p:nvPr userDrawn="1"/>
            </p:nvSpPr>
            <p:spPr bwMode="auto">
              <a:xfrm>
                <a:off x="555625" y="5021263"/>
                <a:ext cx="212725" cy="212725"/>
              </a:xfrm>
              <a:custGeom>
                <a:avLst/>
                <a:gdLst>
                  <a:gd name="T0" fmla="*/ 58 w 58"/>
                  <a:gd name="T1" fmla="*/ 0 h 58"/>
                  <a:gd name="T2" fmla="*/ 0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0"/>
                    </a:moveTo>
                    <a:cubicBezTo>
                      <a:pt x="26" y="0"/>
                      <a:pt x="0" y="26"/>
                      <a:pt x="0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6" name="Freeform 212"/>
              <p:cNvSpPr>
                <a:spLocks/>
              </p:cNvSpPr>
              <p:nvPr userDrawn="1"/>
            </p:nvSpPr>
            <p:spPr bwMode="auto">
              <a:xfrm>
                <a:off x="603250" y="5068888"/>
                <a:ext cx="165100" cy="165100"/>
              </a:xfrm>
              <a:custGeom>
                <a:avLst/>
                <a:gdLst>
                  <a:gd name="T0" fmla="*/ 45 w 45"/>
                  <a:gd name="T1" fmla="*/ 0 h 45"/>
                  <a:gd name="T2" fmla="*/ 0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7" name="Freeform 213"/>
              <p:cNvSpPr>
                <a:spLocks/>
              </p:cNvSpPr>
              <p:nvPr userDrawn="1"/>
            </p:nvSpPr>
            <p:spPr bwMode="auto">
              <a:xfrm>
                <a:off x="650875" y="5116513"/>
                <a:ext cx="117475" cy="117475"/>
              </a:xfrm>
              <a:custGeom>
                <a:avLst/>
                <a:gdLst>
                  <a:gd name="T0" fmla="*/ 32 w 32"/>
                  <a:gd name="T1" fmla="*/ 0 h 32"/>
                  <a:gd name="T2" fmla="*/ 0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0"/>
                    </a:moveTo>
                    <a:cubicBezTo>
                      <a:pt x="14" y="0"/>
                      <a:pt x="0" y="14"/>
                      <a:pt x="0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8" name="Freeform 214"/>
              <p:cNvSpPr>
                <a:spLocks/>
              </p:cNvSpPr>
              <p:nvPr userDrawn="1"/>
            </p:nvSpPr>
            <p:spPr bwMode="auto">
              <a:xfrm>
                <a:off x="700087" y="5164138"/>
                <a:ext cx="68263" cy="69850"/>
              </a:xfrm>
              <a:custGeom>
                <a:avLst/>
                <a:gdLst>
                  <a:gd name="T0" fmla="*/ 19 w 19"/>
                  <a:gd name="T1" fmla="*/ 0 h 19"/>
                  <a:gd name="T2" fmla="*/ 0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0"/>
                    </a:moveTo>
                    <a:cubicBezTo>
                      <a:pt x="8" y="0"/>
                      <a:pt x="0" y="8"/>
                      <a:pt x="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9" name="Freeform 215"/>
              <p:cNvSpPr>
                <a:spLocks/>
              </p:cNvSpPr>
              <p:nvPr userDrawn="1"/>
            </p:nvSpPr>
            <p:spPr bwMode="auto">
              <a:xfrm>
                <a:off x="747712" y="5208588"/>
                <a:ext cx="20638" cy="25400"/>
              </a:xfrm>
              <a:custGeom>
                <a:avLst/>
                <a:gdLst>
                  <a:gd name="T0" fmla="*/ 6 w 6"/>
                  <a:gd name="T1" fmla="*/ 0 h 7"/>
                  <a:gd name="T2" fmla="*/ 0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0"/>
                    </a:moveTo>
                    <a:cubicBezTo>
                      <a:pt x="2" y="0"/>
                      <a:pt x="0" y="3"/>
                      <a:pt x="0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0" name="Freeform 216"/>
              <p:cNvSpPr>
                <a:spLocks/>
              </p:cNvSpPr>
              <p:nvPr userDrawn="1"/>
            </p:nvSpPr>
            <p:spPr bwMode="auto">
              <a:xfrm>
                <a:off x="-201613" y="6205538"/>
                <a:ext cx="969963" cy="966788"/>
              </a:xfrm>
              <a:custGeom>
                <a:avLst/>
                <a:gdLst>
                  <a:gd name="T0" fmla="*/ 264 w 264"/>
                  <a:gd name="T1" fmla="*/ 0 h 263"/>
                  <a:gd name="T2" fmla="*/ 0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264" y="0"/>
                    </a:moveTo>
                    <a:cubicBezTo>
                      <a:pt x="118" y="0"/>
                      <a:pt x="0" y="118"/>
                      <a:pt x="0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1" name="Freeform 217"/>
              <p:cNvSpPr>
                <a:spLocks/>
              </p:cNvSpPr>
              <p:nvPr userDrawn="1"/>
            </p:nvSpPr>
            <p:spPr bwMode="auto">
              <a:xfrm>
                <a:off x="-153988" y="6249988"/>
                <a:ext cx="922338" cy="922338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3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2" name="Freeform 218"/>
              <p:cNvSpPr>
                <a:spLocks/>
              </p:cNvSpPr>
              <p:nvPr userDrawn="1"/>
            </p:nvSpPr>
            <p:spPr bwMode="auto">
              <a:xfrm>
                <a:off x="-104776" y="6297613"/>
                <a:ext cx="873125" cy="874713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7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3" name="Freeform 219"/>
              <p:cNvSpPr>
                <a:spLocks/>
              </p:cNvSpPr>
              <p:nvPr userDrawn="1"/>
            </p:nvSpPr>
            <p:spPr bwMode="auto">
              <a:xfrm>
                <a:off x="-57151" y="6345238"/>
                <a:ext cx="825500" cy="827088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1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4" name="Freeform 220"/>
              <p:cNvSpPr>
                <a:spLocks/>
              </p:cNvSpPr>
              <p:nvPr userDrawn="1"/>
            </p:nvSpPr>
            <p:spPr bwMode="auto">
              <a:xfrm>
                <a:off x="-9526" y="6392863"/>
                <a:ext cx="777875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5" name="Freeform 221"/>
              <p:cNvSpPr>
                <a:spLocks/>
              </p:cNvSpPr>
              <p:nvPr userDrawn="1"/>
            </p:nvSpPr>
            <p:spPr bwMode="auto">
              <a:xfrm>
                <a:off x="38100" y="6440488"/>
                <a:ext cx="730250" cy="731838"/>
              </a:xfrm>
              <a:custGeom>
                <a:avLst/>
                <a:gdLst>
                  <a:gd name="T0" fmla="*/ 199 w 199"/>
                  <a:gd name="T1" fmla="*/ 0 h 199"/>
                  <a:gd name="T2" fmla="*/ 0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0"/>
                    </a:moveTo>
                    <a:cubicBezTo>
                      <a:pt x="89" y="0"/>
                      <a:pt x="0" y="89"/>
                      <a:pt x="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6" name="Freeform 222"/>
              <p:cNvSpPr>
                <a:spLocks/>
              </p:cNvSpPr>
              <p:nvPr userDrawn="1"/>
            </p:nvSpPr>
            <p:spPr bwMode="auto">
              <a:xfrm>
                <a:off x="82550" y="6488113"/>
                <a:ext cx="685800" cy="684213"/>
              </a:xfrm>
              <a:custGeom>
                <a:avLst/>
                <a:gdLst>
                  <a:gd name="T0" fmla="*/ 187 w 187"/>
                  <a:gd name="T1" fmla="*/ 0 h 186"/>
                  <a:gd name="T2" fmla="*/ 0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0"/>
                    </a:moveTo>
                    <a:cubicBezTo>
                      <a:pt x="84" y="0"/>
                      <a:pt x="0" y="83"/>
                      <a:pt x="0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7" name="Freeform 223"/>
              <p:cNvSpPr>
                <a:spLocks/>
              </p:cNvSpPr>
              <p:nvPr userDrawn="1"/>
            </p:nvSpPr>
            <p:spPr bwMode="auto">
              <a:xfrm>
                <a:off x="130175" y="6535738"/>
                <a:ext cx="638175" cy="636588"/>
              </a:xfrm>
              <a:custGeom>
                <a:avLst/>
                <a:gdLst>
                  <a:gd name="T0" fmla="*/ 174 w 174"/>
                  <a:gd name="T1" fmla="*/ 0 h 173"/>
                  <a:gd name="T2" fmla="*/ 0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174" y="0"/>
                    </a:moveTo>
                    <a:cubicBezTo>
                      <a:pt x="78" y="0"/>
                      <a:pt x="0" y="77"/>
                      <a:pt x="0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8" name="Freeform 224"/>
              <p:cNvSpPr>
                <a:spLocks/>
              </p:cNvSpPr>
              <p:nvPr userDrawn="1"/>
            </p:nvSpPr>
            <p:spPr bwMode="auto">
              <a:xfrm>
                <a:off x="177800" y="6583363"/>
                <a:ext cx="590550" cy="588963"/>
              </a:xfrm>
              <a:custGeom>
                <a:avLst/>
                <a:gdLst>
                  <a:gd name="T0" fmla="*/ 161 w 161"/>
                  <a:gd name="T1" fmla="*/ 0 h 160"/>
                  <a:gd name="T2" fmla="*/ 0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161" y="0"/>
                    </a:moveTo>
                    <a:cubicBezTo>
                      <a:pt x="72" y="0"/>
                      <a:pt x="0" y="71"/>
                      <a:pt x="0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9" name="Freeform 225"/>
              <p:cNvSpPr>
                <a:spLocks/>
              </p:cNvSpPr>
              <p:nvPr userDrawn="1"/>
            </p:nvSpPr>
            <p:spPr bwMode="auto">
              <a:xfrm>
                <a:off x="225425" y="6627813"/>
                <a:ext cx="542925" cy="544513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7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0" name="Freeform 226"/>
              <p:cNvSpPr>
                <a:spLocks/>
              </p:cNvSpPr>
              <p:nvPr userDrawn="1"/>
            </p:nvSpPr>
            <p:spPr bwMode="auto">
              <a:xfrm>
                <a:off x="273050" y="6675438"/>
                <a:ext cx="495300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1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1" name="Freeform 227"/>
              <p:cNvSpPr>
                <a:spLocks/>
              </p:cNvSpPr>
              <p:nvPr userDrawn="1"/>
            </p:nvSpPr>
            <p:spPr bwMode="auto">
              <a:xfrm>
                <a:off x="320675" y="6723063"/>
                <a:ext cx="447675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5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2" name="Freeform 228"/>
              <p:cNvSpPr>
                <a:spLocks/>
              </p:cNvSpPr>
              <p:nvPr userDrawn="1"/>
            </p:nvSpPr>
            <p:spPr bwMode="auto">
              <a:xfrm>
                <a:off x="368300" y="6772275"/>
                <a:ext cx="400050" cy="400050"/>
              </a:xfrm>
              <a:custGeom>
                <a:avLst/>
                <a:gdLst>
                  <a:gd name="T0" fmla="*/ 109 w 109"/>
                  <a:gd name="T1" fmla="*/ 0 h 109"/>
                  <a:gd name="T2" fmla="*/ 0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0"/>
                    </a:moveTo>
                    <a:cubicBezTo>
                      <a:pt x="49" y="0"/>
                      <a:pt x="0" y="49"/>
                      <a:pt x="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3" name="Freeform 229"/>
              <p:cNvSpPr>
                <a:spLocks/>
              </p:cNvSpPr>
              <p:nvPr userDrawn="1"/>
            </p:nvSpPr>
            <p:spPr bwMode="auto">
              <a:xfrm>
                <a:off x="412750" y="6819900"/>
                <a:ext cx="355600" cy="352425"/>
              </a:xfrm>
              <a:custGeom>
                <a:avLst/>
                <a:gdLst>
                  <a:gd name="T0" fmla="*/ 97 w 97"/>
                  <a:gd name="T1" fmla="*/ 0 h 96"/>
                  <a:gd name="T2" fmla="*/ 0 w 97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97" y="0"/>
                    </a:moveTo>
                    <a:cubicBezTo>
                      <a:pt x="44" y="0"/>
                      <a:pt x="0" y="43"/>
                      <a:pt x="0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4" name="Freeform 230"/>
              <p:cNvSpPr>
                <a:spLocks/>
              </p:cNvSpPr>
              <p:nvPr userDrawn="1"/>
            </p:nvSpPr>
            <p:spPr bwMode="auto">
              <a:xfrm>
                <a:off x="460375" y="6867525"/>
                <a:ext cx="307975" cy="304800"/>
              </a:xfrm>
              <a:custGeom>
                <a:avLst/>
                <a:gdLst>
                  <a:gd name="T0" fmla="*/ 84 w 84"/>
                  <a:gd name="T1" fmla="*/ 0 h 83"/>
                  <a:gd name="T2" fmla="*/ 0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84" y="0"/>
                    </a:moveTo>
                    <a:cubicBezTo>
                      <a:pt x="38" y="0"/>
                      <a:pt x="0" y="37"/>
                      <a:pt x="0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5" name="Freeform 231"/>
              <p:cNvSpPr>
                <a:spLocks/>
              </p:cNvSpPr>
              <p:nvPr userDrawn="1"/>
            </p:nvSpPr>
            <p:spPr bwMode="auto">
              <a:xfrm>
                <a:off x="508000" y="6915150"/>
                <a:ext cx="260350" cy="257175"/>
              </a:xfrm>
              <a:custGeom>
                <a:avLst/>
                <a:gdLst>
                  <a:gd name="T0" fmla="*/ 71 w 71"/>
                  <a:gd name="T1" fmla="*/ 0 h 70"/>
                  <a:gd name="T2" fmla="*/ 0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71" y="0"/>
                    </a:moveTo>
                    <a:cubicBezTo>
                      <a:pt x="32" y="0"/>
                      <a:pt x="0" y="31"/>
                      <a:pt x="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1" name="Freeform 237"/>
              <p:cNvSpPr>
                <a:spLocks/>
              </p:cNvSpPr>
              <p:nvPr userDrawn="1"/>
            </p:nvSpPr>
            <p:spPr bwMode="auto">
              <a:xfrm>
                <a:off x="-201613" y="52339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2" name="Freeform 238"/>
              <p:cNvSpPr>
                <a:spLocks/>
              </p:cNvSpPr>
              <p:nvPr userDrawn="1"/>
            </p:nvSpPr>
            <p:spPr bwMode="auto">
              <a:xfrm>
                <a:off x="-201613" y="52816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3" name="Freeform 239"/>
              <p:cNvSpPr>
                <a:spLocks/>
              </p:cNvSpPr>
              <p:nvPr userDrawn="1"/>
            </p:nvSpPr>
            <p:spPr bwMode="auto">
              <a:xfrm>
                <a:off x="-201613" y="5329238"/>
                <a:ext cx="874713" cy="876300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6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4" name="Freeform 240"/>
              <p:cNvSpPr>
                <a:spLocks/>
              </p:cNvSpPr>
              <p:nvPr userDrawn="1"/>
            </p:nvSpPr>
            <p:spPr bwMode="auto">
              <a:xfrm>
                <a:off x="-201613" y="5373688"/>
                <a:ext cx="827088" cy="831850"/>
              </a:xfrm>
              <a:custGeom>
                <a:avLst/>
                <a:gdLst>
                  <a:gd name="T0" fmla="*/ 225 w 225"/>
                  <a:gd name="T1" fmla="*/ 226 h 226"/>
                  <a:gd name="T2" fmla="*/ 0 w 225"/>
                  <a:gd name="T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6">
                    <a:moveTo>
                      <a:pt x="225" y="226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5" name="Freeform 241"/>
              <p:cNvSpPr>
                <a:spLocks/>
              </p:cNvSpPr>
              <p:nvPr userDrawn="1"/>
            </p:nvSpPr>
            <p:spPr bwMode="auto">
              <a:xfrm>
                <a:off x="-201613" y="5421313"/>
                <a:ext cx="782638" cy="784225"/>
              </a:xfrm>
              <a:custGeom>
                <a:avLst/>
                <a:gdLst>
                  <a:gd name="T0" fmla="*/ 213 w 213"/>
                  <a:gd name="T1" fmla="*/ 213 h 213"/>
                  <a:gd name="T2" fmla="*/ 0 w 213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3">
                    <a:moveTo>
                      <a:pt x="213" y="213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6" name="Freeform 242"/>
              <p:cNvSpPr>
                <a:spLocks/>
              </p:cNvSpPr>
              <p:nvPr userDrawn="1"/>
            </p:nvSpPr>
            <p:spPr bwMode="auto">
              <a:xfrm>
                <a:off x="-201613" y="5468938"/>
                <a:ext cx="735013" cy="736600"/>
              </a:xfrm>
              <a:custGeom>
                <a:avLst/>
                <a:gdLst>
                  <a:gd name="T0" fmla="*/ 200 w 200"/>
                  <a:gd name="T1" fmla="*/ 200 h 200"/>
                  <a:gd name="T2" fmla="*/ 0 w 200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200" y="200"/>
                    </a:moveTo>
                    <a:cubicBezTo>
                      <a:pt x="200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7" name="Freeform 243"/>
              <p:cNvSpPr>
                <a:spLocks/>
              </p:cNvSpPr>
              <p:nvPr userDrawn="1"/>
            </p:nvSpPr>
            <p:spPr bwMode="auto">
              <a:xfrm>
                <a:off x="-201613" y="5516563"/>
                <a:ext cx="687388" cy="688975"/>
              </a:xfrm>
              <a:custGeom>
                <a:avLst/>
                <a:gdLst>
                  <a:gd name="T0" fmla="*/ 187 w 187"/>
                  <a:gd name="T1" fmla="*/ 187 h 187"/>
                  <a:gd name="T2" fmla="*/ 0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187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8" name="Freeform 244"/>
              <p:cNvSpPr>
                <a:spLocks/>
              </p:cNvSpPr>
              <p:nvPr userDrawn="1"/>
            </p:nvSpPr>
            <p:spPr bwMode="auto">
              <a:xfrm>
                <a:off x="-201613" y="5564188"/>
                <a:ext cx="639763" cy="641350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9" name="Freeform 245"/>
              <p:cNvSpPr>
                <a:spLocks/>
              </p:cNvSpPr>
              <p:nvPr userDrawn="1"/>
            </p:nvSpPr>
            <p:spPr bwMode="auto">
              <a:xfrm>
                <a:off x="-201613" y="5613400"/>
                <a:ext cx="592138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0" name="Freeform 246"/>
              <p:cNvSpPr>
                <a:spLocks/>
              </p:cNvSpPr>
              <p:nvPr userDrawn="1"/>
            </p:nvSpPr>
            <p:spPr bwMode="auto">
              <a:xfrm>
                <a:off x="-201613" y="5661025"/>
                <a:ext cx="544513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1" name="Freeform 247"/>
              <p:cNvSpPr>
                <a:spLocks/>
              </p:cNvSpPr>
              <p:nvPr userDrawn="1"/>
            </p:nvSpPr>
            <p:spPr bwMode="auto">
              <a:xfrm>
                <a:off x="-201613" y="5708650"/>
                <a:ext cx="496888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2" name="Freeform 248"/>
              <p:cNvSpPr>
                <a:spLocks/>
              </p:cNvSpPr>
              <p:nvPr userDrawn="1"/>
            </p:nvSpPr>
            <p:spPr bwMode="auto">
              <a:xfrm>
                <a:off x="-201613" y="5753100"/>
                <a:ext cx="449263" cy="452438"/>
              </a:xfrm>
              <a:custGeom>
                <a:avLst/>
                <a:gdLst>
                  <a:gd name="T0" fmla="*/ 122 w 122"/>
                  <a:gd name="T1" fmla="*/ 123 h 123"/>
                  <a:gd name="T2" fmla="*/ 0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122" y="123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3" name="Freeform 249"/>
              <p:cNvSpPr>
                <a:spLocks/>
              </p:cNvSpPr>
              <p:nvPr userDrawn="1"/>
            </p:nvSpPr>
            <p:spPr bwMode="auto">
              <a:xfrm>
                <a:off x="-201613" y="5800725"/>
                <a:ext cx="404813" cy="404813"/>
              </a:xfrm>
              <a:custGeom>
                <a:avLst/>
                <a:gdLst>
                  <a:gd name="T0" fmla="*/ 110 w 110"/>
                  <a:gd name="T1" fmla="*/ 110 h 110"/>
                  <a:gd name="T2" fmla="*/ 0 w 110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10">
                    <a:moveTo>
                      <a:pt x="110" y="110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4" name="Freeform 250"/>
              <p:cNvSpPr>
                <a:spLocks/>
              </p:cNvSpPr>
              <p:nvPr userDrawn="1"/>
            </p:nvSpPr>
            <p:spPr bwMode="auto">
              <a:xfrm>
                <a:off x="-201613" y="5848350"/>
                <a:ext cx="357188" cy="357188"/>
              </a:xfrm>
              <a:custGeom>
                <a:avLst/>
                <a:gdLst>
                  <a:gd name="T0" fmla="*/ 97 w 97"/>
                  <a:gd name="T1" fmla="*/ 97 h 97"/>
                  <a:gd name="T2" fmla="*/ 0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97" y="97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5" name="Freeform 251"/>
              <p:cNvSpPr>
                <a:spLocks/>
              </p:cNvSpPr>
              <p:nvPr userDrawn="1"/>
            </p:nvSpPr>
            <p:spPr bwMode="auto">
              <a:xfrm>
                <a:off x="-201613" y="5895975"/>
                <a:ext cx="309563" cy="309563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7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6" name="Freeform 252"/>
              <p:cNvSpPr>
                <a:spLocks/>
              </p:cNvSpPr>
              <p:nvPr userDrawn="1"/>
            </p:nvSpPr>
            <p:spPr bwMode="auto">
              <a:xfrm>
                <a:off x="-201613" y="5943600"/>
                <a:ext cx="261938" cy="261938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1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7" name="Freeform 253"/>
              <p:cNvSpPr>
                <a:spLocks/>
              </p:cNvSpPr>
              <p:nvPr userDrawn="1"/>
            </p:nvSpPr>
            <p:spPr bwMode="auto">
              <a:xfrm>
                <a:off x="-201613" y="5991225"/>
                <a:ext cx="214313" cy="214313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8" name="Freeform 254"/>
              <p:cNvSpPr>
                <a:spLocks/>
              </p:cNvSpPr>
              <p:nvPr userDrawn="1"/>
            </p:nvSpPr>
            <p:spPr bwMode="auto">
              <a:xfrm>
                <a:off x="-201613" y="6038850"/>
                <a:ext cx="165100" cy="166688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9" name="Freeform 255"/>
              <p:cNvSpPr>
                <a:spLocks/>
              </p:cNvSpPr>
              <p:nvPr userDrawn="1"/>
            </p:nvSpPr>
            <p:spPr bwMode="auto">
              <a:xfrm>
                <a:off x="-201613" y="6083300"/>
                <a:ext cx="117475" cy="122238"/>
              </a:xfrm>
              <a:custGeom>
                <a:avLst/>
                <a:gdLst>
                  <a:gd name="T0" fmla="*/ 32 w 32"/>
                  <a:gd name="T1" fmla="*/ 33 h 33"/>
                  <a:gd name="T2" fmla="*/ 0 w 32"/>
                  <a:gd name="T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3">
                    <a:moveTo>
                      <a:pt x="32" y="33"/>
                    </a:moveTo>
                    <a:cubicBezTo>
                      <a:pt x="32" y="15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0" name="Freeform 256"/>
              <p:cNvSpPr>
                <a:spLocks/>
              </p:cNvSpPr>
              <p:nvPr userDrawn="1"/>
            </p:nvSpPr>
            <p:spPr bwMode="auto">
              <a:xfrm>
                <a:off x="-201613" y="6130925"/>
                <a:ext cx="74613" cy="74613"/>
              </a:xfrm>
              <a:custGeom>
                <a:avLst/>
                <a:gdLst>
                  <a:gd name="T0" fmla="*/ 20 w 20"/>
                  <a:gd name="T1" fmla="*/ 20 h 20"/>
                  <a:gd name="T2" fmla="*/ 0 w 20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20">
                    <a:moveTo>
                      <a:pt x="20" y="20"/>
                    </a:moveTo>
                    <a:cubicBezTo>
                      <a:pt x="20" y="9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1" name="Freeform 257"/>
              <p:cNvSpPr>
                <a:spLocks/>
              </p:cNvSpPr>
              <p:nvPr userDrawn="1"/>
            </p:nvSpPr>
            <p:spPr bwMode="auto">
              <a:xfrm>
                <a:off x="-201613" y="6178550"/>
                <a:ext cx="26988" cy="26988"/>
              </a:xfrm>
              <a:custGeom>
                <a:avLst/>
                <a:gdLst>
                  <a:gd name="T0" fmla="*/ 7 w 7"/>
                  <a:gd name="T1" fmla="*/ 7 h 7"/>
                  <a:gd name="T2" fmla="*/ 0 w 7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7" y="7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2" name="Freeform 258"/>
              <p:cNvSpPr>
                <a:spLocks/>
              </p:cNvSpPr>
              <p:nvPr userDrawn="1"/>
            </p:nvSpPr>
            <p:spPr bwMode="auto">
              <a:xfrm>
                <a:off x="768350" y="6205538"/>
                <a:ext cx="971550" cy="966788"/>
              </a:xfrm>
              <a:custGeom>
                <a:avLst/>
                <a:gdLst>
                  <a:gd name="T0" fmla="*/ 0 w 264"/>
                  <a:gd name="T1" fmla="*/ 0 h 263"/>
                  <a:gd name="T2" fmla="*/ 264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0" y="0"/>
                    </a:moveTo>
                    <a:cubicBezTo>
                      <a:pt x="0" y="145"/>
                      <a:pt x="118" y="263"/>
                      <a:pt x="264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3" name="Freeform 259"/>
              <p:cNvSpPr>
                <a:spLocks/>
              </p:cNvSpPr>
              <p:nvPr userDrawn="1"/>
            </p:nvSpPr>
            <p:spPr bwMode="auto">
              <a:xfrm>
                <a:off x="817562" y="6205538"/>
                <a:ext cx="922338" cy="919163"/>
              </a:xfrm>
              <a:custGeom>
                <a:avLst/>
                <a:gdLst>
                  <a:gd name="T0" fmla="*/ 0 w 251"/>
                  <a:gd name="T1" fmla="*/ 0 h 250"/>
                  <a:gd name="T2" fmla="*/ 251 w 251"/>
                  <a:gd name="T3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0">
                    <a:moveTo>
                      <a:pt x="0" y="0"/>
                    </a:moveTo>
                    <a:cubicBezTo>
                      <a:pt x="0" y="138"/>
                      <a:pt x="112" y="250"/>
                      <a:pt x="251" y="25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4" name="Freeform 260"/>
              <p:cNvSpPr>
                <a:spLocks/>
              </p:cNvSpPr>
              <p:nvPr userDrawn="1"/>
            </p:nvSpPr>
            <p:spPr bwMode="auto">
              <a:xfrm>
                <a:off x="865187" y="6205538"/>
                <a:ext cx="874713" cy="874713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1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5" name="Freeform 261"/>
              <p:cNvSpPr>
                <a:spLocks/>
              </p:cNvSpPr>
              <p:nvPr userDrawn="1"/>
            </p:nvSpPr>
            <p:spPr bwMode="auto">
              <a:xfrm>
                <a:off x="912812" y="6205538"/>
                <a:ext cx="827088" cy="827088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4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6" name="Freeform 262"/>
              <p:cNvSpPr>
                <a:spLocks/>
              </p:cNvSpPr>
              <p:nvPr userDrawn="1"/>
            </p:nvSpPr>
            <p:spPr bwMode="auto">
              <a:xfrm>
                <a:off x="957262" y="6205538"/>
                <a:ext cx="782638" cy="779463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7" name="Freeform 263"/>
              <p:cNvSpPr>
                <a:spLocks/>
              </p:cNvSpPr>
              <p:nvPr userDrawn="1"/>
            </p:nvSpPr>
            <p:spPr bwMode="auto">
              <a:xfrm>
                <a:off x="1004887" y="6205538"/>
                <a:ext cx="735013" cy="731838"/>
              </a:xfrm>
              <a:custGeom>
                <a:avLst/>
                <a:gdLst>
                  <a:gd name="T0" fmla="*/ 0 w 200"/>
                  <a:gd name="T1" fmla="*/ 0 h 199"/>
                  <a:gd name="T2" fmla="*/ 200 w 200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0" y="0"/>
                    </a:moveTo>
                    <a:cubicBezTo>
                      <a:pt x="0" y="110"/>
                      <a:pt x="90" y="199"/>
                      <a:pt x="20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8" name="Freeform 264"/>
              <p:cNvSpPr>
                <a:spLocks/>
              </p:cNvSpPr>
              <p:nvPr userDrawn="1"/>
            </p:nvSpPr>
            <p:spPr bwMode="auto">
              <a:xfrm>
                <a:off x="1052512" y="6205538"/>
                <a:ext cx="687388" cy="684213"/>
              </a:xfrm>
              <a:custGeom>
                <a:avLst/>
                <a:gdLst>
                  <a:gd name="T0" fmla="*/ 0 w 187"/>
                  <a:gd name="T1" fmla="*/ 0 h 186"/>
                  <a:gd name="T2" fmla="*/ 187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0"/>
                    </a:moveTo>
                    <a:cubicBezTo>
                      <a:pt x="0" y="103"/>
                      <a:pt x="84" y="186"/>
                      <a:pt x="187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9" name="Freeform 265"/>
              <p:cNvSpPr>
                <a:spLocks/>
              </p:cNvSpPr>
              <p:nvPr userDrawn="1"/>
            </p:nvSpPr>
            <p:spPr bwMode="auto">
              <a:xfrm>
                <a:off x="1100137" y="6205538"/>
                <a:ext cx="639763" cy="636588"/>
              </a:xfrm>
              <a:custGeom>
                <a:avLst/>
                <a:gdLst>
                  <a:gd name="T0" fmla="*/ 0 w 174"/>
                  <a:gd name="T1" fmla="*/ 0 h 173"/>
                  <a:gd name="T2" fmla="*/ 174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0" y="0"/>
                    </a:moveTo>
                    <a:cubicBezTo>
                      <a:pt x="0" y="96"/>
                      <a:pt x="78" y="173"/>
                      <a:pt x="174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0" name="Freeform 266"/>
              <p:cNvSpPr>
                <a:spLocks/>
              </p:cNvSpPr>
              <p:nvPr userDrawn="1"/>
            </p:nvSpPr>
            <p:spPr bwMode="auto">
              <a:xfrm>
                <a:off x="1147762" y="6205538"/>
                <a:ext cx="592138" cy="588963"/>
              </a:xfrm>
              <a:custGeom>
                <a:avLst/>
                <a:gdLst>
                  <a:gd name="T0" fmla="*/ 0 w 161"/>
                  <a:gd name="T1" fmla="*/ 0 h 160"/>
                  <a:gd name="T2" fmla="*/ 161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0" y="0"/>
                    </a:moveTo>
                    <a:cubicBezTo>
                      <a:pt x="0" y="88"/>
                      <a:pt x="72" y="160"/>
                      <a:pt x="161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1" name="Freeform 267"/>
              <p:cNvSpPr>
                <a:spLocks/>
              </p:cNvSpPr>
              <p:nvPr userDrawn="1"/>
            </p:nvSpPr>
            <p:spPr bwMode="auto">
              <a:xfrm>
                <a:off x="1195387" y="6205538"/>
                <a:ext cx="544513" cy="544513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1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2" name="Freeform 268"/>
              <p:cNvSpPr>
                <a:spLocks/>
              </p:cNvSpPr>
              <p:nvPr userDrawn="1"/>
            </p:nvSpPr>
            <p:spPr bwMode="auto">
              <a:xfrm>
                <a:off x="1243012" y="6205538"/>
                <a:ext cx="496888" cy="496888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4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3" name="Freeform 269"/>
              <p:cNvSpPr>
                <a:spLocks/>
              </p:cNvSpPr>
              <p:nvPr userDrawn="1"/>
            </p:nvSpPr>
            <p:spPr bwMode="auto">
              <a:xfrm>
                <a:off x="1290637" y="6205538"/>
                <a:ext cx="449263" cy="447675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7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4" name="Freeform 270"/>
              <p:cNvSpPr>
                <a:spLocks/>
              </p:cNvSpPr>
              <p:nvPr userDrawn="1"/>
            </p:nvSpPr>
            <p:spPr bwMode="auto">
              <a:xfrm>
                <a:off x="1335087" y="6205538"/>
                <a:ext cx="404813" cy="400050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0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5" name="Freeform 271"/>
              <p:cNvSpPr>
                <a:spLocks/>
              </p:cNvSpPr>
              <p:nvPr userDrawn="1"/>
            </p:nvSpPr>
            <p:spPr bwMode="auto">
              <a:xfrm>
                <a:off x="1382712" y="6205538"/>
                <a:ext cx="357188" cy="352425"/>
              </a:xfrm>
              <a:custGeom>
                <a:avLst/>
                <a:gdLst>
                  <a:gd name="T0" fmla="*/ 0 w 97"/>
                  <a:gd name="T1" fmla="*/ 0 h 96"/>
                  <a:gd name="T2" fmla="*/ 97 w 97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0"/>
                    </a:moveTo>
                    <a:cubicBezTo>
                      <a:pt x="0" y="53"/>
                      <a:pt x="43" y="96"/>
                      <a:pt x="97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6" name="Freeform 272"/>
              <p:cNvSpPr>
                <a:spLocks/>
              </p:cNvSpPr>
              <p:nvPr userDrawn="1"/>
            </p:nvSpPr>
            <p:spPr bwMode="auto">
              <a:xfrm>
                <a:off x="1430337" y="6205538"/>
                <a:ext cx="309563" cy="304800"/>
              </a:xfrm>
              <a:custGeom>
                <a:avLst/>
                <a:gdLst>
                  <a:gd name="T0" fmla="*/ 0 w 84"/>
                  <a:gd name="T1" fmla="*/ 0 h 83"/>
                  <a:gd name="T2" fmla="*/ 84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0"/>
                    </a:moveTo>
                    <a:cubicBezTo>
                      <a:pt x="0" y="46"/>
                      <a:pt x="38" y="83"/>
                      <a:pt x="84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7" name="Freeform 273"/>
              <p:cNvSpPr>
                <a:spLocks/>
              </p:cNvSpPr>
              <p:nvPr userDrawn="1"/>
            </p:nvSpPr>
            <p:spPr bwMode="auto">
              <a:xfrm>
                <a:off x="1477962" y="6205538"/>
                <a:ext cx="261938" cy="257175"/>
              </a:xfrm>
              <a:custGeom>
                <a:avLst/>
                <a:gdLst>
                  <a:gd name="T0" fmla="*/ 0 w 71"/>
                  <a:gd name="T1" fmla="*/ 0 h 70"/>
                  <a:gd name="T2" fmla="*/ 71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0" y="0"/>
                    </a:moveTo>
                    <a:cubicBezTo>
                      <a:pt x="0" y="39"/>
                      <a:pt x="32" y="70"/>
                      <a:pt x="71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8" name="Freeform 274"/>
              <p:cNvSpPr>
                <a:spLocks/>
              </p:cNvSpPr>
              <p:nvPr userDrawn="1"/>
            </p:nvSpPr>
            <p:spPr bwMode="auto">
              <a:xfrm>
                <a:off x="1525587" y="6205538"/>
                <a:ext cx="214313" cy="209550"/>
              </a:xfrm>
              <a:custGeom>
                <a:avLst/>
                <a:gdLst>
                  <a:gd name="T0" fmla="*/ 0 w 58"/>
                  <a:gd name="T1" fmla="*/ 0 h 57"/>
                  <a:gd name="T2" fmla="*/ 58 w 58"/>
                  <a:gd name="T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7">
                    <a:moveTo>
                      <a:pt x="0" y="0"/>
                    </a:moveTo>
                    <a:cubicBezTo>
                      <a:pt x="0" y="32"/>
                      <a:pt x="26" y="57"/>
                      <a:pt x="58" y="5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9" name="Freeform 275"/>
              <p:cNvSpPr>
                <a:spLocks/>
              </p:cNvSpPr>
              <p:nvPr userDrawn="1"/>
            </p:nvSpPr>
            <p:spPr bwMode="auto">
              <a:xfrm>
                <a:off x="1573212" y="6205538"/>
                <a:ext cx="166688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4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0" name="Freeform 276"/>
              <p:cNvSpPr>
                <a:spLocks/>
              </p:cNvSpPr>
              <p:nvPr userDrawn="1"/>
            </p:nvSpPr>
            <p:spPr bwMode="auto">
              <a:xfrm>
                <a:off x="1622425" y="62055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7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1" name="Freeform 277"/>
              <p:cNvSpPr>
                <a:spLocks/>
              </p:cNvSpPr>
              <p:nvPr userDrawn="1"/>
            </p:nvSpPr>
            <p:spPr bwMode="auto">
              <a:xfrm>
                <a:off x="1665287" y="6205538"/>
                <a:ext cx="74613" cy="69850"/>
              </a:xfrm>
              <a:custGeom>
                <a:avLst/>
                <a:gdLst>
                  <a:gd name="T0" fmla="*/ 0 w 20"/>
                  <a:gd name="T1" fmla="*/ 0 h 19"/>
                  <a:gd name="T2" fmla="*/ 20 w 20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0" y="0"/>
                    </a:moveTo>
                    <a:cubicBezTo>
                      <a:pt x="0" y="10"/>
                      <a:pt x="9" y="19"/>
                      <a:pt x="2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2" name="Freeform 278"/>
              <p:cNvSpPr>
                <a:spLocks/>
              </p:cNvSpPr>
              <p:nvPr userDrawn="1"/>
            </p:nvSpPr>
            <p:spPr bwMode="auto">
              <a:xfrm>
                <a:off x="1712912" y="6205538"/>
                <a:ext cx="26988" cy="22225"/>
              </a:xfrm>
              <a:custGeom>
                <a:avLst/>
                <a:gdLst>
                  <a:gd name="T0" fmla="*/ 0 w 7"/>
                  <a:gd name="T1" fmla="*/ 0 h 6"/>
                  <a:gd name="T2" fmla="*/ 7 w 7"/>
                  <a:gd name="T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0" y="3"/>
                      <a:pt x="3" y="6"/>
                      <a:pt x="7" y="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3" name="Freeform 279"/>
              <p:cNvSpPr>
                <a:spLocks/>
              </p:cNvSpPr>
              <p:nvPr userDrawn="1"/>
            </p:nvSpPr>
            <p:spPr bwMode="auto">
              <a:xfrm>
                <a:off x="1739900" y="6205538"/>
                <a:ext cx="966788" cy="966788"/>
              </a:xfrm>
              <a:custGeom>
                <a:avLst/>
                <a:gdLst>
                  <a:gd name="T0" fmla="*/ 263 w 263"/>
                  <a:gd name="T1" fmla="*/ 0 h 263"/>
                  <a:gd name="T2" fmla="*/ 0 w 263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3">
                    <a:moveTo>
                      <a:pt x="263" y="0"/>
                    </a:moveTo>
                    <a:cubicBezTo>
                      <a:pt x="118" y="0"/>
                      <a:pt x="0" y="118"/>
                      <a:pt x="0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4" name="Freeform 280"/>
              <p:cNvSpPr>
                <a:spLocks/>
              </p:cNvSpPr>
              <p:nvPr userDrawn="1"/>
            </p:nvSpPr>
            <p:spPr bwMode="auto">
              <a:xfrm>
                <a:off x="1787525" y="6249988"/>
                <a:ext cx="919163" cy="922338"/>
              </a:xfrm>
              <a:custGeom>
                <a:avLst/>
                <a:gdLst>
                  <a:gd name="T0" fmla="*/ 250 w 250"/>
                  <a:gd name="T1" fmla="*/ 0 h 251"/>
                  <a:gd name="T2" fmla="*/ 0 w 250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0" h="251">
                    <a:moveTo>
                      <a:pt x="250" y="0"/>
                    </a:moveTo>
                    <a:cubicBezTo>
                      <a:pt x="112" y="0"/>
                      <a:pt x="0" y="113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5" name="Freeform 281"/>
              <p:cNvSpPr>
                <a:spLocks/>
              </p:cNvSpPr>
              <p:nvPr userDrawn="1"/>
            </p:nvSpPr>
            <p:spPr bwMode="auto">
              <a:xfrm>
                <a:off x="1831975" y="6297613"/>
                <a:ext cx="874713" cy="874713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7" y="0"/>
                      <a:pt x="0" y="107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6" name="Freeform 282"/>
              <p:cNvSpPr>
                <a:spLocks/>
              </p:cNvSpPr>
              <p:nvPr userDrawn="1"/>
            </p:nvSpPr>
            <p:spPr bwMode="auto">
              <a:xfrm>
                <a:off x="1879600" y="6345238"/>
                <a:ext cx="827088" cy="827088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1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7" name="Freeform 283"/>
              <p:cNvSpPr>
                <a:spLocks/>
              </p:cNvSpPr>
              <p:nvPr userDrawn="1"/>
            </p:nvSpPr>
            <p:spPr bwMode="auto">
              <a:xfrm>
                <a:off x="1927225" y="6392863"/>
                <a:ext cx="779463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8" name="Freeform 284"/>
              <p:cNvSpPr>
                <a:spLocks/>
              </p:cNvSpPr>
              <p:nvPr userDrawn="1"/>
            </p:nvSpPr>
            <p:spPr bwMode="auto">
              <a:xfrm>
                <a:off x="1974850" y="6440488"/>
                <a:ext cx="731838" cy="731838"/>
              </a:xfrm>
              <a:custGeom>
                <a:avLst/>
                <a:gdLst>
                  <a:gd name="T0" fmla="*/ 199 w 199"/>
                  <a:gd name="T1" fmla="*/ 0 h 199"/>
                  <a:gd name="T2" fmla="*/ 0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0"/>
                    </a:moveTo>
                    <a:cubicBezTo>
                      <a:pt x="89" y="0"/>
                      <a:pt x="0" y="89"/>
                      <a:pt x="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9" name="Freeform 285"/>
              <p:cNvSpPr>
                <a:spLocks/>
              </p:cNvSpPr>
              <p:nvPr userDrawn="1"/>
            </p:nvSpPr>
            <p:spPr bwMode="auto">
              <a:xfrm>
                <a:off x="2022475" y="6488113"/>
                <a:ext cx="684213" cy="684213"/>
              </a:xfrm>
              <a:custGeom>
                <a:avLst/>
                <a:gdLst>
                  <a:gd name="T0" fmla="*/ 186 w 186"/>
                  <a:gd name="T1" fmla="*/ 0 h 186"/>
                  <a:gd name="T2" fmla="*/ 0 w 186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186" y="0"/>
                    </a:moveTo>
                    <a:cubicBezTo>
                      <a:pt x="83" y="0"/>
                      <a:pt x="0" y="83"/>
                      <a:pt x="0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0" name="Freeform 286"/>
              <p:cNvSpPr>
                <a:spLocks/>
              </p:cNvSpPr>
              <p:nvPr userDrawn="1"/>
            </p:nvSpPr>
            <p:spPr bwMode="auto">
              <a:xfrm>
                <a:off x="2070100" y="6535738"/>
                <a:ext cx="636588" cy="636588"/>
              </a:xfrm>
              <a:custGeom>
                <a:avLst/>
                <a:gdLst>
                  <a:gd name="T0" fmla="*/ 173 w 173"/>
                  <a:gd name="T1" fmla="*/ 0 h 173"/>
                  <a:gd name="T2" fmla="*/ 0 w 173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3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1" name="Freeform 287"/>
              <p:cNvSpPr>
                <a:spLocks/>
              </p:cNvSpPr>
              <p:nvPr userDrawn="1"/>
            </p:nvSpPr>
            <p:spPr bwMode="auto">
              <a:xfrm>
                <a:off x="2117725" y="6583363"/>
                <a:ext cx="588963" cy="588963"/>
              </a:xfrm>
              <a:custGeom>
                <a:avLst/>
                <a:gdLst>
                  <a:gd name="T0" fmla="*/ 160 w 160"/>
                  <a:gd name="T1" fmla="*/ 0 h 160"/>
                  <a:gd name="T2" fmla="*/ 0 w 160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0" h="160">
                    <a:moveTo>
                      <a:pt x="160" y="0"/>
                    </a:moveTo>
                    <a:cubicBezTo>
                      <a:pt x="72" y="0"/>
                      <a:pt x="0" y="71"/>
                      <a:pt x="0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2" name="Freeform 288"/>
              <p:cNvSpPr>
                <a:spLocks/>
              </p:cNvSpPr>
              <p:nvPr userDrawn="1"/>
            </p:nvSpPr>
            <p:spPr bwMode="auto">
              <a:xfrm>
                <a:off x="2165350" y="6627813"/>
                <a:ext cx="541338" cy="544513"/>
              </a:xfrm>
              <a:custGeom>
                <a:avLst/>
                <a:gdLst>
                  <a:gd name="T0" fmla="*/ 147 w 147"/>
                  <a:gd name="T1" fmla="*/ 0 h 148"/>
                  <a:gd name="T2" fmla="*/ 0 w 147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7" h="148">
                    <a:moveTo>
                      <a:pt x="147" y="0"/>
                    </a:moveTo>
                    <a:cubicBezTo>
                      <a:pt x="66" y="0"/>
                      <a:pt x="0" y="67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3" name="Freeform 289"/>
              <p:cNvSpPr>
                <a:spLocks/>
              </p:cNvSpPr>
              <p:nvPr userDrawn="1"/>
            </p:nvSpPr>
            <p:spPr bwMode="auto">
              <a:xfrm>
                <a:off x="2209800" y="6675438"/>
                <a:ext cx="496888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1" y="0"/>
                      <a:pt x="0" y="61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4" name="Freeform 290"/>
              <p:cNvSpPr>
                <a:spLocks/>
              </p:cNvSpPr>
              <p:nvPr userDrawn="1"/>
            </p:nvSpPr>
            <p:spPr bwMode="auto">
              <a:xfrm>
                <a:off x="2257425" y="6723063"/>
                <a:ext cx="449263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5" y="0"/>
                      <a:pt x="0" y="55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5" name="Freeform 291"/>
              <p:cNvSpPr>
                <a:spLocks/>
              </p:cNvSpPr>
              <p:nvPr userDrawn="1"/>
            </p:nvSpPr>
            <p:spPr bwMode="auto">
              <a:xfrm>
                <a:off x="2305050" y="6772275"/>
                <a:ext cx="401638" cy="400050"/>
              </a:xfrm>
              <a:custGeom>
                <a:avLst/>
                <a:gdLst>
                  <a:gd name="T0" fmla="*/ 109 w 109"/>
                  <a:gd name="T1" fmla="*/ 0 h 109"/>
                  <a:gd name="T2" fmla="*/ 0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0"/>
                    </a:moveTo>
                    <a:cubicBezTo>
                      <a:pt x="49" y="0"/>
                      <a:pt x="0" y="49"/>
                      <a:pt x="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6" name="Freeform 292"/>
              <p:cNvSpPr>
                <a:spLocks/>
              </p:cNvSpPr>
              <p:nvPr userDrawn="1"/>
            </p:nvSpPr>
            <p:spPr bwMode="auto">
              <a:xfrm>
                <a:off x="2352675" y="6819900"/>
                <a:ext cx="354013" cy="352425"/>
              </a:xfrm>
              <a:custGeom>
                <a:avLst/>
                <a:gdLst>
                  <a:gd name="T0" fmla="*/ 96 w 96"/>
                  <a:gd name="T1" fmla="*/ 0 h 96"/>
                  <a:gd name="T2" fmla="*/ 0 w 96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96" y="0"/>
                    </a:moveTo>
                    <a:cubicBezTo>
                      <a:pt x="43" y="0"/>
                      <a:pt x="0" y="43"/>
                      <a:pt x="0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7" name="Freeform 293"/>
              <p:cNvSpPr>
                <a:spLocks/>
              </p:cNvSpPr>
              <p:nvPr userDrawn="1"/>
            </p:nvSpPr>
            <p:spPr bwMode="auto">
              <a:xfrm>
                <a:off x="2400300" y="6867525"/>
                <a:ext cx="306388" cy="304800"/>
              </a:xfrm>
              <a:custGeom>
                <a:avLst/>
                <a:gdLst>
                  <a:gd name="T0" fmla="*/ 83 w 83"/>
                  <a:gd name="T1" fmla="*/ 0 h 83"/>
                  <a:gd name="T2" fmla="*/ 0 w 83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3">
                    <a:moveTo>
                      <a:pt x="83" y="0"/>
                    </a:moveTo>
                    <a:cubicBezTo>
                      <a:pt x="37" y="0"/>
                      <a:pt x="0" y="37"/>
                      <a:pt x="0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8" name="Freeform 294"/>
              <p:cNvSpPr>
                <a:spLocks/>
              </p:cNvSpPr>
              <p:nvPr userDrawn="1"/>
            </p:nvSpPr>
            <p:spPr bwMode="auto">
              <a:xfrm>
                <a:off x="2447925" y="6915150"/>
                <a:ext cx="258763" cy="257175"/>
              </a:xfrm>
              <a:custGeom>
                <a:avLst/>
                <a:gdLst>
                  <a:gd name="T0" fmla="*/ 70 w 70"/>
                  <a:gd name="T1" fmla="*/ 0 h 70"/>
                  <a:gd name="T2" fmla="*/ 0 w 70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0">
                    <a:moveTo>
                      <a:pt x="70" y="0"/>
                    </a:moveTo>
                    <a:cubicBezTo>
                      <a:pt x="31" y="0"/>
                      <a:pt x="0" y="31"/>
                      <a:pt x="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4" name="Freeform 300"/>
              <p:cNvSpPr>
                <a:spLocks/>
              </p:cNvSpPr>
              <p:nvPr userDrawn="1"/>
            </p:nvSpPr>
            <p:spPr bwMode="auto">
              <a:xfrm>
                <a:off x="1739900" y="5233988"/>
                <a:ext cx="966788" cy="971550"/>
              </a:xfrm>
              <a:custGeom>
                <a:avLst/>
                <a:gdLst>
                  <a:gd name="T0" fmla="*/ 263 w 263"/>
                  <a:gd name="T1" fmla="*/ 264 h 264"/>
                  <a:gd name="T2" fmla="*/ 0 w 263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263" y="264"/>
                    </a:moveTo>
                    <a:cubicBezTo>
                      <a:pt x="263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5" name="Freeform 301"/>
              <p:cNvSpPr>
                <a:spLocks/>
              </p:cNvSpPr>
              <p:nvPr userDrawn="1"/>
            </p:nvSpPr>
            <p:spPr bwMode="auto">
              <a:xfrm>
                <a:off x="1739900" y="52816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6" name="Freeform 302"/>
              <p:cNvSpPr>
                <a:spLocks/>
              </p:cNvSpPr>
              <p:nvPr userDrawn="1"/>
            </p:nvSpPr>
            <p:spPr bwMode="auto">
              <a:xfrm>
                <a:off x="1739900" y="5329238"/>
                <a:ext cx="874713" cy="876300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6"/>
                      <a:pt x="13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7" name="Freeform 303"/>
              <p:cNvSpPr>
                <a:spLocks/>
              </p:cNvSpPr>
              <p:nvPr userDrawn="1"/>
            </p:nvSpPr>
            <p:spPr bwMode="auto">
              <a:xfrm>
                <a:off x="1739900" y="5373688"/>
                <a:ext cx="827088" cy="831850"/>
              </a:xfrm>
              <a:custGeom>
                <a:avLst/>
                <a:gdLst>
                  <a:gd name="T0" fmla="*/ 225 w 225"/>
                  <a:gd name="T1" fmla="*/ 226 h 226"/>
                  <a:gd name="T2" fmla="*/ 0 w 225"/>
                  <a:gd name="T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6">
                    <a:moveTo>
                      <a:pt x="225" y="226"/>
                    </a:moveTo>
                    <a:cubicBezTo>
                      <a:pt x="225" y="101"/>
                      <a:pt x="12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8" name="Freeform 304"/>
              <p:cNvSpPr>
                <a:spLocks/>
              </p:cNvSpPr>
              <p:nvPr userDrawn="1"/>
            </p:nvSpPr>
            <p:spPr bwMode="auto">
              <a:xfrm>
                <a:off x="1739900" y="5421313"/>
                <a:ext cx="777875" cy="784225"/>
              </a:xfrm>
              <a:custGeom>
                <a:avLst/>
                <a:gdLst>
                  <a:gd name="T0" fmla="*/ 212 w 212"/>
                  <a:gd name="T1" fmla="*/ 213 h 213"/>
                  <a:gd name="T2" fmla="*/ 0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212" y="213"/>
                    </a:moveTo>
                    <a:cubicBezTo>
                      <a:pt x="212" y="95"/>
                      <a:pt x="11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9" name="Freeform 305"/>
              <p:cNvSpPr>
                <a:spLocks/>
              </p:cNvSpPr>
              <p:nvPr userDrawn="1"/>
            </p:nvSpPr>
            <p:spPr bwMode="auto">
              <a:xfrm>
                <a:off x="1739900" y="5468938"/>
                <a:ext cx="730250" cy="736600"/>
              </a:xfrm>
              <a:custGeom>
                <a:avLst/>
                <a:gdLst>
                  <a:gd name="T0" fmla="*/ 199 w 199"/>
                  <a:gd name="T1" fmla="*/ 200 h 200"/>
                  <a:gd name="T2" fmla="*/ 0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200"/>
                    </a:moveTo>
                    <a:cubicBezTo>
                      <a:pt x="199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0" name="Freeform 306"/>
              <p:cNvSpPr>
                <a:spLocks/>
              </p:cNvSpPr>
              <p:nvPr userDrawn="1"/>
            </p:nvSpPr>
            <p:spPr bwMode="auto">
              <a:xfrm>
                <a:off x="1739900" y="5516563"/>
                <a:ext cx="682625" cy="688975"/>
              </a:xfrm>
              <a:custGeom>
                <a:avLst/>
                <a:gdLst>
                  <a:gd name="T0" fmla="*/ 186 w 186"/>
                  <a:gd name="T1" fmla="*/ 187 h 187"/>
                  <a:gd name="T2" fmla="*/ 0 w 186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186" y="187"/>
                    </a:moveTo>
                    <a:cubicBezTo>
                      <a:pt x="186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1" name="Freeform 307"/>
              <p:cNvSpPr>
                <a:spLocks/>
              </p:cNvSpPr>
              <p:nvPr userDrawn="1"/>
            </p:nvSpPr>
            <p:spPr bwMode="auto">
              <a:xfrm>
                <a:off x="1739900" y="5564188"/>
                <a:ext cx="635000" cy="641350"/>
              </a:xfrm>
              <a:custGeom>
                <a:avLst/>
                <a:gdLst>
                  <a:gd name="T0" fmla="*/ 173 w 173"/>
                  <a:gd name="T1" fmla="*/ 174 h 174"/>
                  <a:gd name="T2" fmla="*/ 0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173" y="174"/>
                    </a:moveTo>
                    <a:cubicBezTo>
                      <a:pt x="173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2" name="Freeform 308"/>
              <p:cNvSpPr>
                <a:spLocks/>
              </p:cNvSpPr>
              <p:nvPr userDrawn="1"/>
            </p:nvSpPr>
            <p:spPr bwMode="auto">
              <a:xfrm>
                <a:off x="1739900" y="5613400"/>
                <a:ext cx="590550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3" name="Freeform 309"/>
              <p:cNvSpPr>
                <a:spLocks/>
              </p:cNvSpPr>
              <p:nvPr userDrawn="1"/>
            </p:nvSpPr>
            <p:spPr bwMode="auto">
              <a:xfrm>
                <a:off x="1739900" y="5661025"/>
                <a:ext cx="542925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4" name="Freeform 310"/>
              <p:cNvSpPr>
                <a:spLocks/>
              </p:cNvSpPr>
              <p:nvPr userDrawn="1"/>
            </p:nvSpPr>
            <p:spPr bwMode="auto">
              <a:xfrm>
                <a:off x="1739900" y="5708650"/>
                <a:ext cx="495300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5" name="Freeform 311"/>
              <p:cNvSpPr>
                <a:spLocks/>
              </p:cNvSpPr>
              <p:nvPr userDrawn="1"/>
            </p:nvSpPr>
            <p:spPr bwMode="auto">
              <a:xfrm>
                <a:off x="1739900" y="5753100"/>
                <a:ext cx="447675" cy="452438"/>
              </a:xfrm>
              <a:custGeom>
                <a:avLst/>
                <a:gdLst>
                  <a:gd name="T0" fmla="*/ 122 w 122"/>
                  <a:gd name="T1" fmla="*/ 123 h 123"/>
                  <a:gd name="T2" fmla="*/ 0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122" y="123"/>
                    </a:moveTo>
                    <a:cubicBezTo>
                      <a:pt x="122" y="55"/>
                      <a:pt x="6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6" name="Freeform 312"/>
              <p:cNvSpPr>
                <a:spLocks/>
              </p:cNvSpPr>
              <p:nvPr userDrawn="1"/>
            </p:nvSpPr>
            <p:spPr bwMode="auto">
              <a:xfrm>
                <a:off x="1739900" y="5800725"/>
                <a:ext cx="400050" cy="404813"/>
              </a:xfrm>
              <a:custGeom>
                <a:avLst/>
                <a:gdLst>
                  <a:gd name="T0" fmla="*/ 109 w 109"/>
                  <a:gd name="T1" fmla="*/ 110 h 110"/>
                  <a:gd name="T2" fmla="*/ 0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110"/>
                    </a:moveTo>
                    <a:cubicBezTo>
                      <a:pt x="109" y="49"/>
                      <a:pt x="6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7" name="Freeform 313"/>
              <p:cNvSpPr>
                <a:spLocks/>
              </p:cNvSpPr>
              <p:nvPr userDrawn="1"/>
            </p:nvSpPr>
            <p:spPr bwMode="auto">
              <a:xfrm>
                <a:off x="1739900" y="5848350"/>
                <a:ext cx="352425" cy="357188"/>
              </a:xfrm>
              <a:custGeom>
                <a:avLst/>
                <a:gdLst>
                  <a:gd name="T0" fmla="*/ 96 w 96"/>
                  <a:gd name="T1" fmla="*/ 97 h 97"/>
                  <a:gd name="T2" fmla="*/ 0 w 96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96" y="97"/>
                    </a:moveTo>
                    <a:cubicBezTo>
                      <a:pt x="96" y="43"/>
                      <a:pt x="5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8" name="Freeform 314"/>
              <p:cNvSpPr>
                <a:spLocks/>
              </p:cNvSpPr>
              <p:nvPr userDrawn="1"/>
            </p:nvSpPr>
            <p:spPr bwMode="auto">
              <a:xfrm>
                <a:off x="1739900" y="5895975"/>
                <a:ext cx="304800" cy="309563"/>
              </a:xfrm>
              <a:custGeom>
                <a:avLst/>
                <a:gdLst>
                  <a:gd name="T0" fmla="*/ 83 w 83"/>
                  <a:gd name="T1" fmla="*/ 84 h 84"/>
                  <a:gd name="T2" fmla="*/ 0 w 83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83" y="84"/>
                    </a:moveTo>
                    <a:cubicBezTo>
                      <a:pt x="83" y="37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9" name="Freeform 315"/>
              <p:cNvSpPr>
                <a:spLocks/>
              </p:cNvSpPr>
              <p:nvPr userDrawn="1"/>
            </p:nvSpPr>
            <p:spPr bwMode="auto">
              <a:xfrm>
                <a:off x="1739900" y="5943600"/>
                <a:ext cx="257175" cy="261938"/>
              </a:xfrm>
              <a:custGeom>
                <a:avLst/>
                <a:gdLst>
                  <a:gd name="T0" fmla="*/ 70 w 70"/>
                  <a:gd name="T1" fmla="*/ 71 h 71"/>
                  <a:gd name="T2" fmla="*/ 0 w 70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70" y="71"/>
                    </a:moveTo>
                    <a:cubicBezTo>
                      <a:pt x="70" y="31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0" name="Freeform 316"/>
              <p:cNvSpPr>
                <a:spLocks/>
              </p:cNvSpPr>
              <p:nvPr userDrawn="1"/>
            </p:nvSpPr>
            <p:spPr bwMode="auto">
              <a:xfrm>
                <a:off x="1739900" y="5991225"/>
                <a:ext cx="212725" cy="214313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1" name="Freeform 317"/>
              <p:cNvSpPr>
                <a:spLocks/>
              </p:cNvSpPr>
              <p:nvPr userDrawn="1"/>
            </p:nvSpPr>
            <p:spPr bwMode="auto">
              <a:xfrm>
                <a:off x="1739900" y="6038850"/>
                <a:ext cx="165100" cy="166688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2" name="Freeform 318"/>
              <p:cNvSpPr>
                <a:spLocks/>
              </p:cNvSpPr>
              <p:nvPr userDrawn="1"/>
            </p:nvSpPr>
            <p:spPr bwMode="auto">
              <a:xfrm>
                <a:off x="1739900" y="6083300"/>
                <a:ext cx="117475" cy="122238"/>
              </a:xfrm>
              <a:custGeom>
                <a:avLst/>
                <a:gdLst>
                  <a:gd name="T0" fmla="*/ 32 w 32"/>
                  <a:gd name="T1" fmla="*/ 33 h 33"/>
                  <a:gd name="T2" fmla="*/ 0 w 32"/>
                  <a:gd name="T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3">
                    <a:moveTo>
                      <a:pt x="32" y="33"/>
                    </a:moveTo>
                    <a:cubicBezTo>
                      <a:pt x="32" y="15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3" name="Freeform 319"/>
              <p:cNvSpPr>
                <a:spLocks/>
              </p:cNvSpPr>
              <p:nvPr userDrawn="1"/>
            </p:nvSpPr>
            <p:spPr bwMode="auto">
              <a:xfrm>
                <a:off x="1739900" y="6130925"/>
                <a:ext cx="69850" cy="74613"/>
              </a:xfrm>
              <a:custGeom>
                <a:avLst/>
                <a:gdLst>
                  <a:gd name="T0" fmla="*/ 19 w 19"/>
                  <a:gd name="T1" fmla="*/ 20 h 20"/>
                  <a:gd name="T2" fmla="*/ 0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19" y="20"/>
                    </a:moveTo>
                    <a:cubicBezTo>
                      <a:pt x="19" y="9"/>
                      <a:pt x="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4" name="Freeform 320"/>
              <p:cNvSpPr>
                <a:spLocks/>
              </p:cNvSpPr>
              <p:nvPr userDrawn="1"/>
            </p:nvSpPr>
            <p:spPr bwMode="auto">
              <a:xfrm>
                <a:off x="1739900" y="6178550"/>
                <a:ext cx="22225" cy="26988"/>
              </a:xfrm>
              <a:custGeom>
                <a:avLst/>
                <a:gdLst>
                  <a:gd name="T0" fmla="*/ 6 w 6"/>
                  <a:gd name="T1" fmla="*/ 7 h 7"/>
                  <a:gd name="T2" fmla="*/ 0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7"/>
                    </a:moveTo>
                    <a:cubicBezTo>
                      <a:pt x="6" y="3"/>
                      <a:pt x="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5" name="Freeform 321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971550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6" name="Freeform 322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923925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7" name="Freeform 323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874713" cy="874713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1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8" name="Freeform 324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827088" cy="827088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4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9" name="Freeform 325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779463" cy="779463"/>
              </a:xfrm>
              <a:custGeom>
                <a:avLst/>
                <a:gdLst>
                  <a:gd name="T0" fmla="*/ 0 w 212"/>
                  <a:gd name="T1" fmla="*/ 212 h 212"/>
                  <a:gd name="T2" fmla="*/ 212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212"/>
                    </a:moveTo>
                    <a:cubicBezTo>
                      <a:pt x="117" y="212"/>
                      <a:pt x="212" y="117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0" name="Freeform 326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731838" cy="731838"/>
              </a:xfrm>
              <a:custGeom>
                <a:avLst/>
                <a:gdLst>
                  <a:gd name="T0" fmla="*/ 0 w 199"/>
                  <a:gd name="T1" fmla="*/ 199 h 199"/>
                  <a:gd name="T2" fmla="*/ 199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199"/>
                    </a:moveTo>
                    <a:cubicBezTo>
                      <a:pt x="110" y="199"/>
                      <a:pt x="199" y="110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1" name="Freeform 327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687388" cy="684213"/>
              </a:xfrm>
              <a:custGeom>
                <a:avLst/>
                <a:gdLst>
                  <a:gd name="T0" fmla="*/ 0 w 187"/>
                  <a:gd name="T1" fmla="*/ 186 h 186"/>
                  <a:gd name="T2" fmla="*/ 187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186"/>
                    </a:moveTo>
                    <a:cubicBezTo>
                      <a:pt x="103" y="186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2" name="Freeform 328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639763" cy="639763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3" name="Freeform 329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592138" cy="592138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4" name="Freeform 330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544513" cy="544513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5" name="Freeform 331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496888" cy="496888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6" name="Freeform 332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449263" cy="449263"/>
              </a:xfrm>
              <a:custGeom>
                <a:avLst/>
                <a:gdLst>
                  <a:gd name="T0" fmla="*/ 0 w 122"/>
                  <a:gd name="T1" fmla="*/ 122 h 122"/>
                  <a:gd name="T2" fmla="*/ 122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122"/>
                    </a:moveTo>
                    <a:cubicBezTo>
                      <a:pt x="68" y="122"/>
                      <a:pt x="122" y="67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7" name="Freeform 333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401638" cy="401638"/>
              </a:xfrm>
              <a:custGeom>
                <a:avLst/>
                <a:gdLst>
                  <a:gd name="T0" fmla="*/ 0 w 109"/>
                  <a:gd name="T1" fmla="*/ 109 h 109"/>
                  <a:gd name="T2" fmla="*/ 109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109"/>
                    </a:moveTo>
                    <a:cubicBezTo>
                      <a:pt x="60" y="109"/>
                      <a:pt x="109" y="60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8" name="Freeform 334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354013" cy="352425"/>
              </a:xfrm>
              <a:custGeom>
                <a:avLst/>
                <a:gdLst>
                  <a:gd name="T0" fmla="*/ 0 w 96"/>
                  <a:gd name="T1" fmla="*/ 96 h 96"/>
                  <a:gd name="T2" fmla="*/ 96 w 96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0" y="96"/>
                    </a:moveTo>
                    <a:cubicBezTo>
                      <a:pt x="53" y="96"/>
                      <a:pt x="96" y="53"/>
                      <a:pt x="9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9" name="Freeform 335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309563" cy="304800"/>
              </a:xfrm>
              <a:custGeom>
                <a:avLst/>
                <a:gdLst>
                  <a:gd name="T0" fmla="*/ 0 w 84"/>
                  <a:gd name="T1" fmla="*/ 83 h 83"/>
                  <a:gd name="T2" fmla="*/ 84 w 84"/>
                  <a:gd name="T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83"/>
                    </a:moveTo>
                    <a:cubicBezTo>
                      <a:pt x="46" y="83"/>
                      <a:pt x="84" y="46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0" name="Freeform 336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261938" cy="260350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1" name="Freeform 337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214313" cy="212725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2" name="Freeform 338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166688" cy="165100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3" name="Freeform 339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119063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4" name="Freeform 340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69850" cy="69850"/>
              </a:xfrm>
              <a:custGeom>
                <a:avLst/>
                <a:gdLst>
                  <a:gd name="T0" fmla="*/ 0 w 19"/>
                  <a:gd name="T1" fmla="*/ 19 h 19"/>
                  <a:gd name="T2" fmla="*/ 19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19"/>
                    </a:moveTo>
                    <a:cubicBezTo>
                      <a:pt x="11" y="19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5" name="Freeform 341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22225" cy="22225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cubicBezTo>
                      <a:pt x="4" y="6"/>
                      <a:pt x="6" y="3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6" name="Freeform 342"/>
              <p:cNvSpPr>
                <a:spLocks/>
              </p:cNvSpPr>
              <p:nvPr userDrawn="1"/>
            </p:nvSpPr>
            <p:spPr bwMode="auto">
              <a:xfrm>
                <a:off x="2706687" y="6205538"/>
                <a:ext cx="969963" cy="966788"/>
              </a:xfrm>
              <a:custGeom>
                <a:avLst/>
                <a:gdLst>
                  <a:gd name="T0" fmla="*/ 0 w 264"/>
                  <a:gd name="T1" fmla="*/ 0 h 263"/>
                  <a:gd name="T2" fmla="*/ 264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0" y="0"/>
                    </a:moveTo>
                    <a:cubicBezTo>
                      <a:pt x="0" y="145"/>
                      <a:pt x="118" y="263"/>
                      <a:pt x="264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7" name="Freeform 343"/>
              <p:cNvSpPr>
                <a:spLocks/>
              </p:cNvSpPr>
              <p:nvPr userDrawn="1"/>
            </p:nvSpPr>
            <p:spPr bwMode="auto">
              <a:xfrm>
                <a:off x="2754312" y="6205538"/>
                <a:ext cx="922338" cy="919163"/>
              </a:xfrm>
              <a:custGeom>
                <a:avLst/>
                <a:gdLst>
                  <a:gd name="T0" fmla="*/ 0 w 251"/>
                  <a:gd name="T1" fmla="*/ 0 h 250"/>
                  <a:gd name="T2" fmla="*/ 251 w 251"/>
                  <a:gd name="T3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0">
                    <a:moveTo>
                      <a:pt x="0" y="0"/>
                    </a:moveTo>
                    <a:cubicBezTo>
                      <a:pt x="0" y="138"/>
                      <a:pt x="113" y="250"/>
                      <a:pt x="251" y="25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8" name="Freeform 344"/>
              <p:cNvSpPr>
                <a:spLocks/>
              </p:cNvSpPr>
              <p:nvPr userDrawn="1"/>
            </p:nvSpPr>
            <p:spPr bwMode="auto">
              <a:xfrm>
                <a:off x="2801937" y="6205538"/>
                <a:ext cx="874713" cy="874713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1"/>
                      <a:pt x="107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9" name="Freeform 345"/>
              <p:cNvSpPr>
                <a:spLocks/>
              </p:cNvSpPr>
              <p:nvPr userDrawn="1"/>
            </p:nvSpPr>
            <p:spPr bwMode="auto">
              <a:xfrm>
                <a:off x="2849562" y="6205538"/>
                <a:ext cx="827088" cy="827088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4"/>
                      <a:pt x="101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0" name="Freeform 346"/>
              <p:cNvSpPr>
                <a:spLocks/>
              </p:cNvSpPr>
              <p:nvPr userDrawn="1"/>
            </p:nvSpPr>
            <p:spPr bwMode="auto">
              <a:xfrm>
                <a:off x="2897187" y="6205538"/>
                <a:ext cx="779463" cy="779463"/>
              </a:xfrm>
              <a:custGeom>
                <a:avLst/>
                <a:gdLst>
                  <a:gd name="T0" fmla="*/ 0 w 212"/>
                  <a:gd name="T1" fmla="*/ 0 h 212"/>
                  <a:gd name="T2" fmla="*/ 212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0"/>
                    </a:moveTo>
                    <a:cubicBezTo>
                      <a:pt x="0" y="117"/>
                      <a:pt x="95" y="212"/>
                      <a:pt x="212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1" name="Freeform 347"/>
              <p:cNvSpPr>
                <a:spLocks/>
              </p:cNvSpPr>
              <p:nvPr userDrawn="1"/>
            </p:nvSpPr>
            <p:spPr bwMode="auto">
              <a:xfrm>
                <a:off x="2944812" y="6205538"/>
                <a:ext cx="731838" cy="731838"/>
              </a:xfrm>
              <a:custGeom>
                <a:avLst/>
                <a:gdLst>
                  <a:gd name="T0" fmla="*/ 0 w 199"/>
                  <a:gd name="T1" fmla="*/ 0 h 199"/>
                  <a:gd name="T2" fmla="*/ 199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0"/>
                    </a:moveTo>
                    <a:cubicBezTo>
                      <a:pt x="0" y="110"/>
                      <a:pt x="89" y="199"/>
                      <a:pt x="199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2" name="Freeform 348"/>
              <p:cNvSpPr>
                <a:spLocks/>
              </p:cNvSpPr>
              <p:nvPr userDrawn="1"/>
            </p:nvSpPr>
            <p:spPr bwMode="auto">
              <a:xfrm>
                <a:off x="2992437" y="6205538"/>
                <a:ext cx="684213" cy="684213"/>
              </a:xfrm>
              <a:custGeom>
                <a:avLst/>
                <a:gdLst>
                  <a:gd name="T0" fmla="*/ 0 w 186"/>
                  <a:gd name="T1" fmla="*/ 0 h 186"/>
                  <a:gd name="T2" fmla="*/ 186 w 186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0" y="0"/>
                    </a:moveTo>
                    <a:cubicBezTo>
                      <a:pt x="0" y="103"/>
                      <a:pt x="83" y="186"/>
                      <a:pt x="186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3" name="Freeform 349"/>
              <p:cNvSpPr>
                <a:spLocks/>
              </p:cNvSpPr>
              <p:nvPr userDrawn="1"/>
            </p:nvSpPr>
            <p:spPr bwMode="auto">
              <a:xfrm>
                <a:off x="3040062" y="6205538"/>
                <a:ext cx="636588" cy="636588"/>
              </a:xfrm>
              <a:custGeom>
                <a:avLst/>
                <a:gdLst>
                  <a:gd name="T0" fmla="*/ 0 w 173"/>
                  <a:gd name="T1" fmla="*/ 0 h 173"/>
                  <a:gd name="T2" fmla="*/ 173 w 173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3">
                    <a:moveTo>
                      <a:pt x="0" y="0"/>
                    </a:moveTo>
                    <a:cubicBezTo>
                      <a:pt x="0" y="96"/>
                      <a:pt x="77" y="173"/>
                      <a:pt x="173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4" name="Freeform 350"/>
              <p:cNvSpPr>
                <a:spLocks/>
              </p:cNvSpPr>
              <p:nvPr userDrawn="1"/>
            </p:nvSpPr>
            <p:spPr bwMode="auto">
              <a:xfrm>
                <a:off x="3084512" y="6205538"/>
                <a:ext cx="592138" cy="588963"/>
              </a:xfrm>
              <a:custGeom>
                <a:avLst/>
                <a:gdLst>
                  <a:gd name="T0" fmla="*/ 0 w 161"/>
                  <a:gd name="T1" fmla="*/ 0 h 160"/>
                  <a:gd name="T2" fmla="*/ 161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0" y="0"/>
                    </a:moveTo>
                    <a:cubicBezTo>
                      <a:pt x="0" y="88"/>
                      <a:pt x="72" y="160"/>
                      <a:pt x="161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5" name="Freeform 351"/>
              <p:cNvSpPr>
                <a:spLocks/>
              </p:cNvSpPr>
              <p:nvPr userDrawn="1"/>
            </p:nvSpPr>
            <p:spPr bwMode="auto">
              <a:xfrm>
                <a:off x="3132137" y="6205538"/>
                <a:ext cx="544513" cy="544513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1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6" name="Freeform 352"/>
              <p:cNvSpPr>
                <a:spLocks/>
              </p:cNvSpPr>
              <p:nvPr userDrawn="1"/>
            </p:nvSpPr>
            <p:spPr bwMode="auto">
              <a:xfrm>
                <a:off x="3179762" y="6205538"/>
                <a:ext cx="496888" cy="496888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4"/>
                      <a:pt x="61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7" name="Freeform 353"/>
              <p:cNvSpPr>
                <a:spLocks/>
              </p:cNvSpPr>
              <p:nvPr userDrawn="1"/>
            </p:nvSpPr>
            <p:spPr bwMode="auto">
              <a:xfrm>
                <a:off x="3227387" y="6205538"/>
                <a:ext cx="449263" cy="447675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7"/>
                      <a:pt x="55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8" name="Freeform 354"/>
              <p:cNvSpPr>
                <a:spLocks/>
              </p:cNvSpPr>
              <p:nvPr userDrawn="1"/>
            </p:nvSpPr>
            <p:spPr bwMode="auto">
              <a:xfrm>
                <a:off x="3275012" y="6205538"/>
                <a:ext cx="401638" cy="400050"/>
              </a:xfrm>
              <a:custGeom>
                <a:avLst/>
                <a:gdLst>
                  <a:gd name="T0" fmla="*/ 0 w 109"/>
                  <a:gd name="T1" fmla="*/ 0 h 109"/>
                  <a:gd name="T2" fmla="*/ 109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0"/>
                    </a:moveTo>
                    <a:cubicBezTo>
                      <a:pt x="0" y="60"/>
                      <a:pt x="49" y="109"/>
                      <a:pt x="109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9" name="Freeform 355"/>
              <p:cNvSpPr>
                <a:spLocks/>
              </p:cNvSpPr>
              <p:nvPr userDrawn="1"/>
            </p:nvSpPr>
            <p:spPr bwMode="auto">
              <a:xfrm>
                <a:off x="3322637" y="6205538"/>
                <a:ext cx="354013" cy="352425"/>
              </a:xfrm>
              <a:custGeom>
                <a:avLst/>
                <a:gdLst>
                  <a:gd name="T0" fmla="*/ 0 w 96"/>
                  <a:gd name="T1" fmla="*/ 0 h 96"/>
                  <a:gd name="T2" fmla="*/ 96 w 96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0" y="0"/>
                    </a:moveTo>
                    <a:cubicBezTo>
                      <a:pt x="0" y="53"/>
                      <a:pt x="43" y="96"/>
                      <a:pt x="96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0" name="Freeform 356"/>
              <p:cNvSpPr>
                <a:spLocks/>
              </p:cNvSpPr>
              <p:nvPr userDrawn="1"/>
            </p:nvSpPr>
            <p:spPr bwMode="auto">
              <a:xfrm>
                <a:off x="3371850" y="6205538"/>
                <a:ext cx="304800" cy="304800"/>
              </a:xfrm>
              <a:custGeom>
                <a:avLst/>
                <a:gdLst>
                  <a:gd name="T0" fmla="*/ 0 w 83"/>
                  <a:gd name="T1" fmla="*/ 0 h 83"/>
                  <a:gd name="T2" fmla="*/ 83 w 83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3">
                    <a:moveTo>
                      <a:pt x="0" y="0"/>
                    </a:moveTo>
                    <a:cubicBezTo>
                      <a:pt x="0" y="46"/>
                      <a:pt x="37" y="83"/>
                      <a:pt x="83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1" name="Freeform 357"/>
              <p:cNvSpPr>
                <a:spLocks/>
              </p:cNvSpPr>
              <p:nvPr userDrawn="1"/>
            </p:nvSpPr>
            <p:spPr bwMode="auto">
              <a:xfrm>
                <a:off x="3414712" y="6205538"/>
                <a:ext cx="261938" cy="257175"/>
              </a:xfrm>
              <a:custGeom>
                <a:avLst/>
                <a:gdLst>
                  <a:gd name="T0" fmla="*/ 0 w 71"/>
                  <a:gd name="T1" fmla="*/ 0 h 70"/>
                  <a:gd name="T2" fmla="*/ 71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0" y="0"/>
                    </a:moveTo>
                    <a:cubicBezTo>
                      <a:pt x="0" y="39"/>
                      <a:pt x="32" y="70"/>
                      <a:pt x="71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2" name="Freeform 358"/>
              <p:cNvSpPr>
                <a:spLocks/>
              </p:cNvSpPr>
              <p:nvPr userDrawn="1"/>
            </p:nvSpPr>
            <p:spPr bwMode="auto">
              <a:xfrm>
                <a:off x="3462337" y="6205538"/>
                <a:ext cx="214313" cy="209550"/>
              </a:xfrm>
              <a:custGeom>
                <a:avLst/>
                <a:gdLst>
                  <a:gd name="T0" fmla="*/ 0 w 58"/>
                  <a:gd name="T1" fmla="*/ 0 h 57"/>
                  <a:gd name="T2" fmla="*/ 58 w 58"/>
                  <a:gd name="T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7">
                    <a:moveTo>
                      <a:pt x="0" y="0"/>
                    </a:moveTo>
                    <a:cubicBezTo>
                      <a:pt x="0" y="32"/>
                      <a:pt x="26" y="57"/>
                      <a:pt x="58" y="5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3" name="Freeform 359"/>
              <p:cNvSpPr>
                <a:spLocks/>
              </p:cNvSpPr>
              <p:nvPr userDrawn="1"/>
            </p:nvSpPr>
            <p:spPr bwMode="auto">
              <a:xfrm>
                <a:off x="3511550" y="62055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4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4" name="Freeform 360"/>
              <p:cNvSpPr>
                <a:spLocks/>
              </p:cNvSpPr>
              <p:nvPr userDrawn="1"/>
            </p:nvSpPr>
            <p:spPr bwMode="auto">
              <a:xfrm>
                <a:off x="3559175" y="62055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7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5" name="Freeform 361"/>
              <p:cNvSpPr>
                <a:spLocks/>
              </p:cNvSpPr>
              <p:nvPr userDrawn="1"/>
            </p:nvSpPr>
            <p:spPr bwMode="auto">
              <a:xfrm>
                <a:off x="3606800" y="6205538"/>
                <a:ext cx="69850" cy="69850"/>
              </a:xfrm>
              <a:custGeom>
                <a:avLst/>
                <a:gdLst>
                  <a:gd name="T0" fmla="*/ 0 w 19"/>
                  <a:gd name="T1" fmla="*/ 0 h 19"/>
                  <a:gd name="T2" fmla="*/ 19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0"/>
                    </a:moveTo>
                    <a:cubicBezTo>
                      <a:pt x="0" y="10"/>
                      <a:pt x="9" y="19"/>
                      <a:pt x="19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6" name="Freeform 362"/>
              <p:cNvSpPr>
                <a:spLocks/>
              </p:cNvSpPr>
              <p:nvPr userDrawn="1"/>
            </p:nvSpPr>
            <p:spPr bwMode="auto">
              <a:xfrm>
                <a:off x="3654425" y="6205538"/>
                <a:ext cx="22225" cy="22225"/>
              </a:xfrm>
              <a:custGeom>
                <a:avLst/>
                <a:gdLst>
                  <a:gd name="T0" fmla="*/ 0 w 6"/>
                  <a:gd name="T1" fmla="*/ 0 h 6"/>
                  <a:gd name="T2" fmla="*/ 6 w 6"/>
                  <a:gd name="T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0" y="3"/>
                      <a:pt x="3" y="6"/>
                      <a:pt x="6" y="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7" name="Freeform 363"/>
              <p:cNvSpPr>
                <a:spLocks/>
              </p:cNvSpPr>
              <p:nvPr userDrawn="1"/>
            </p:nvSpPr>
            <p:spPr bwMode="auto">
              <a:xfrm>
                <a:off x="3676650" y="6205538"/>
                <a:ext cx="969963" cy="966788"/>
              </a:xfrm>
              <a:custGeom>
                <a:avLst/>
                <a:gdLst>
                  <a:gd name="T0" fmla="*/ 264 w 264"/>
                  <a:gd name="T1" fmla="*/ 0 h 263"/>
                  <a:gd name="T2" fmla="*/ 0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264" y="0"/>
                    </a:moveTo>
                    <a:cubicBezTo>
                      <a:pt x="118" y="0"/>
                      <a:pt x="0" y="118"/>
                      <a:pt x="0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8" name="Freeform 364"/>
              <p:cNvSpPr>
                <a:spLocks/>
              </p:cNvSpPr>
              <p:nvPr userDrawn="1"/>
            </p:nvSpPr>
            <p:spPr bwMode="auto">
              <a:xfrm>
                <a:off x="3724275" y="6249988"/>
                <a:ext cx="922338" cy="922338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3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9" name="Freeform 365"/>
              <p:cNvSpPr>
                <a:spLocks/>
              </p:cNvSpPr>
              <p:nvPr userDrawn="1"/>
            </p:nvSpPr>
            <p:spPr bwMode="auto">
              <a:xfrm>
                <a:off x="3771900" y="6297613"/>
                <a:ext cx="874713" cy="874713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7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0" name="Freeform 366"/>
              <p:cNvSpPr>
                <a:spLocks/>
              </p:cNvSpPr>
              <p:nvPr userDrawn="1"/>
            </p:nvSpPr>
            <p:spPr bwMode="auto">
              <a:xfrm>
                <a:off x="3819525" y="6345238"/>
                <a:ext cx="827088" cy="827088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1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1" name="Freeform 367"/>
              <p:cNvSpPr>
                <a:spLocks/>
              </p:cNvSpPr>
              <p:nvPr userDrawn="1"/>
            </p:nvSpPr>
            <p:spPr bwMode="auto">
              <a:xfrm>
                <a:off x="3867150" y="6392863"/>
                <a:ext cx="779463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2" name="Freeform 368"/>
              <p:cNvSpPr>
                <a:spLocks/>
              </p:cNvSpPr>
              <p:nvPr userDrawn="1"/>
            </p:nvSpPr>
            <p:spPr bwMode="auto">
              <a:xfrm>
                <a:off x="3914775" y="6440488"/>
                <a:ext cx="731838" cy="731838"/>
              </a:xfrm>
              <a:custGeom>
                <a:avLst/>
                <a:gdLst>
                  <a:gd name="T0" fmla="*/ 199 w 199"/>
                  <a:gd name="T1" fmla="*/ 0 h 199"/>
                  <a:gd name="T2" fmla="*/ 0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0"/>
                    </a:moveTo>
                    <a:cubicBezTo>
                      <a:pt x="89" y="0"/>
                      <a:pt x="0" y="89"/>
                      <a:pt x="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3" name="Freeform 369"/>
              <p:cNvSpPr>
                <a:spLocks/>
              </p:cNvSpPr>
              <p:nvPr userDrawn="1"/>
            </p:nvSpPr>
            <p:spPr bwMode="auto">
              <a:xfrm>
                <a:off x="3959225" y="6488113"/>
                <a:ext cx="687388" cy="684213"/>
              </a:xfrm>
              <a:custGeom>
                <a:avLst/>
                <a:gdLst>
                  <a:gd name="T0" fmla="*/ 187 w 187"/>
                  <a:gd name="T1" fmla="*/ 0 h 186"/>
                  <a:gd name="T2" fmla="*/ 0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0"/>
                    </a:moveTo>
                    <a:cubicBezTo>
                      <a:pt x="84" y="0"/>
                      <a:pt x="0" y="83"/>
                      <a:pt x="0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4" name="Freeform 370"/>
              <p:cNvSpPr>
                <a:spLocks/>
              </p:cNvSpPr>
              <p:nvPr userDrawn="1"/>
            </p:nvSpPr>
            <p:spPr bwMode="auto">
              <a:xfrm>
                <a:off x="4006850" y="6535738"/>
                <a:ext cx="639763" cy="636588"/>
              </a:xfrm>
              <a:custGeom>
                <a:avLst/>
                <a:gdLst>
                  <a:gd name="T0" fmla="*/ 174 w 174"/>
                  <a:gd name="T1" fmla="*/ 0 h 173"/>
                  <a:gd name="T2" fmla="*/ 0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174" y="0"/>
                    </a:moveTo>
                    <a:cubicBezTo>
                      <a:pt x="78" y="0"/>
                      <a:pt x="0" y="77"/>
                      <a:pt x="0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5" name="Freeform 371"/>
              <p:cNvSpPr>
                <a:spLocks/>
              </p:cNvSpPr>
              <p:nvPr userDrawn="1"/>
            </p:nvSpPr>
            <p:spPr bwMode="auto">
              <a:xfrm>
                <a:off x="4054475" y="6583363"/>
                <a:ext cx="592138" cy="588963"/>
              </a:xfrm>
              <a:custGeom>
                <a:avLst/>
                <a:gdLst>
                  <a:gd name="T0" fmla="*/ 161 w 161"/>
                  <a:gd name="T1" fmla="*/ 0 h 160"/>
                  <a:gd name="T2" fmla="*/ 0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161" y="0"/>
                    </a:moveTo>
                    <a:cubicBezTo>
                      <a:pt x="72" y="0"/>
                      <a:pt x="0" y="71"/>
                      <a:pt x="0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6" name="Freeform 372"/>
              <p:cNvSpPr>
                <a:spLocks/>
              </p:cNvSpPr>
              <p:nvPr userDrawn="1"/>
            </p:nvSpPr>
            <p:spPr bwMode="auto">
              <a:xfrm>
                <a:off x="4102100" y="6627813"/>
                <a:ext cx="544513" cy="544513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7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7" name="Freeform 373"/>
              <p:cNvSpPr>
                <a:spLocks/>
              </p:cNvSpPr>
              <p:nvPr userDrawn="1"/>
            </p:nvSpPr>
            <p:spPr bwMode="auto">
              <a:xfrm>
                <a:off x="4149725" y="6675438"/>
                <a:ext cx="496888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1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8" name="Freeform 374"/>
              <p:cNvSpPr>
                <a:spLocks/>
              </p:cNvSpPr>
              <p:nvPr userDrawn="1"/>
            </p:nvSpPr>
            <p:spPr bwMode="auto">
              <a:xfrm>
                <a:off x="4197350" y="6723063"/>
                <a:ext cx="449263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5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9" name="Freeform 375"/>
              <p:cNvSpPr>
                <a:spLocks/>
              </p:cNvSpPr>
              <p:nvPr userDrawn="1"/>
            </p:nvSpPr>
            <p:spPr bwMode="auto">
              <a:xfrm>
                <a:off x="4246562" y="6772275"/>
                <a:ext cx="400050" cy="400050"/>
              </a:xfrm>
              <a:custGeom>
                <a:avLst/>
                <a:gdLst>
                  <a:gd name="T0" fmla="*/ 109 w 109"/>
                  <a:gd name="T1" fmla="*/ 0 h 109"/>
                  <a:gd name="T2" fmla="*/ 0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0"/>
                    </a:moveTo>
                    <a:cubicBezTo>
                      <a:pt x="49" y="0"/>
                      <a:pt x="0" y="49"/>
                      <a:pt x="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40" name="Freeform 376"/>
              <p:cNvSpPr>
                <a:spLocks/>
              </p:cNvSpPr>
              <p:nvPr userDrawn="1"/>
            </p:nvSpPr>
            <p:spPr bwMode="auto">
              <a:xfrm>
                <a:off x="4294187" y="6819900"/>
                <a:ext cx="352425" cy="352425"/>
              </a:xfrm>
              <a:custGeom>
                <a:avLst/>
                <a:gdLst>
                  <a:gd name="T0" fmla="*/ 96 w 96"/>
                  <a:gd name="T1" fmla="*/ 0 h 96"/>
                  <a:gd name="T2" fmla="*/ 0 w 96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96" y="0"/>
                    </a:moveTo>
                    <a:cubicBezTo>
                      <a:pt x="43" y="0"/>
                      <a:pt x="0" y="43"/>
                      <a:pt x="0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41" name="Freeform 377"/>
              <p:cNvSpPr>
                <a:spLocks/>
              </p:cNvSpPr>
              <p:nvPr userDrawn="1"/>
            </p:nvSpPr>
            <p:spPr bwMode="auto">
              <a:xfrm>
                <a:off x="4337050" y="6867525"/>
                <a:ext cx="309563" cy="304800"/>
              </a:xfrm>
              <a:custGeom>
                <a:avLst/>
                <a:gdLst>
                  <a:gd name="T0" fmla="*/ 84 w 84"/>
                  <a:gd name="T1" fmla="*/ 0 h 83"/>
                  <a:gd name="T2" fmla="*/ 0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84" y="0"/>
                    </a:moveTo>
                    <a:cubicBezTo>
                      <a:pt x="38" y="0"/>
                      <a:pt x="0" y="37"/>
                      <a:pt x="0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42" name="Freeform 378"/>
              <p:cNvSpPr>
                <a:spLocks/>
              </p:cNvSpPr>
              <p:nvPr userDrawn="1"/>
            </p:nvSpPr>
            <p:spPr bwMode="auto">
              <a:xfrm>
                <a:off x="4386262" y="6915150"/>
                <a:ext cx="260350" cy="257175"/>
              </a:xfrm>
              <a:custGeom>
                <a:avLst/>
                <a:gdLst>
                  <a:gd name="T0" fmla="*/ 71 w 71"/>
                  <a:gd name="T1" fmla="*/ 0 h 70"/>
                  <a:gd name="T2" fmla="*/ 0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71" y="0"/>
                    </a:moveTo>
                    <a:cubicBezTo>
                      <a:pt x="32" y="0"/>
                      <a:pt x="0" y="31"/>
                      <a:pt x="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48" name="Freeform 384"/>
              <p:cNvSpPr>
                <a:spLocks/>
              </p:cNvSpPr>
              <p:nvPr userDrawn="1"/>
            </p:nvSpPr>
            <p:spPr bwMode="auto">
              <a:xfrm>
                <a:off x="3676650" y="52339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49" name="Freeform 385"/>
              <p:cNvSpPr>
                <a:spLocks/>
              </p:cNvSpPr>
              <p:nvPr userDrawn="1"/>
            </p:nvSpPr>
            <p:spPr bwMode="auto">
              <a:xfrm>
                <a:off x="3676650" y="52816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0" name="Freeform 386"/>
              <p:cNvSpPr>
                <a:spLocks/>
              </p:cNvSpPr>
              <p:nvPr userDrawn="1"/>
            </p:nvSpPr>
            <p:spPr bwMode="auto">
              <a:xfrm>
                <a:off x="3676650" y="5329238"/>
                <a:ext cx="874713" cy="876300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6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1" name="Freeform 387"/>
              <p:cNvSpPr>
                <a:spLocks/>
              </p:cNvSpPr>
              <p:nvPr userDrawn="1"/>
            </p:nvSpPr>
            <p:spPr bwMode="auto">
              <a:xfrm>
                <a:off x="3676650" y="5373688"/>
                <a:ext cx="827088" cy="831850"/>
              </a:xfrm>
              <a:custGeom>
                <a:avLst/>
                <a:gdLst>
                  <a:gd name="T0" fmla="*/ 225 w 225"/>
                  <a:gd name="T1" fmla="*/ 226 h 226"/>
                  <a:gd name="T2" fmla="*/ 0 w 225"/>
                  <a:gd name="T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6">
                    <a:moveTo>
                      <a:pt x="225" y="226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2" name="Freeform 388"/>
              <p:cNvSpPr>
                <a:spLocks/>
              </p:cNvSpPr>
              <p:nvPr userDrawn="1"/>
            </p:nvSpPr>
            <p:spPr bwMode="auto">
              <a:xfrm>
                <a:off x="3676650" y="5421313"/>
                <a:ext cx="782638" cy="784225"/>
              </a:xfrm>
              <a:custGeom>
                <a:avLst/>
                <a:gdLst>
                  <a:gd name="T0" fmla="*/ 213 w 213"/>
                  <a:gd name="T1" fmla="*/ 213 h 213"/>
                  <a:gd name="T2" fmla="*/ 0 w 213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3">
                    <a:moveTo>
                      <a:pt x="213" y="213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3" name="Freeform 389"/>
              <p:cNvSpPr>
                <a:spLocks/>
              </p:cNvSpPr>
              <p:nvPr userDrawn="1"/>
            </p:nvSpPr>
            <p:spPr bwMode="auto">
              <a:xfrm>
                <a:off x="3676650" y="5468938"/>
                <a:ext cx="735013" cy="736600"/>
              </a:xfrm>
              <a:custGeom>
                <a:avLst/>
                <a:gdLst>
                  <a:gd name="T0" fmla="*/ 200 w 200"/>
                  <a:gd name="T1" fmla="*/ 200 h 200"/>
                  <a:gd name="T2" fmla="*/ 0 w 200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200" y="200"/>
                    </a:moveTo>
                    <a:cubicBezTo>
                      <a:pt x="200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4" name="Freeform 390"/>
              <p:cNvSpPr>
                <a:spLocks/>
              </p:cNvSpPr>
              <p:nvPr userDrawn="1"/>
            </p:nvSpPr>
            <p:spPr bwMode="auto">
              <a:xfrm>
                <a:off x="3676650" y="5516563"/>
                <a:ext cx="687388" cy="688975"/>
              </a:xfrm>
              <a:custGeom>
                <a:avLst/>
                <a:gdLst>
                  <a:gd name="T0" fmla="*/ 187 w 187"/>
                  <a:gd name="T1" fmla="*/ 187 h 187"/>
                  <a:gd name="T2" fmla="*/ 0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187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5" name="Freeform 391"/>
              <p:cNvSpPr>
                <a:spLocks/>
              </p:cNvSpPr>
              <p:nvPr userDrawn="1"/>
            </p:nvSpPr>
            <p:spPr bwMode="auto">
              <a:xfrm>
                <a:off x="3676650" y="5564188"/>
                <a:ext cx="639763" cy="641350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6" name="Freeform 392"/>
              <p:cNvSpPr>
                <a:spLocks/>
              </p:cNvSpPr>
              <p:nvPr userDrawn="1"/>
            </p:nvSpPr>
            <p:spPr bwMode="auto">
              <a:xfrm>
                <a:off x="3676650" y="5613400"/>
                <a:ext cx="590550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7" name="Freeform 393"/>
              <p:cNvSpPr>
                <a:spLocks/>
              </p:cNvSpPr>
              <p:nvPr userDrawn="1"/>
            </p:nvSpPr>
            <p:spPr bwMode="auto">
              <a:xfrm>
                <a:off x="3676650" y="5661025"/>
                <a:ext cx="542925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8" name="Freeform 394"/>
              <p:cNvSpPr>
                <a:spLocks/>
              </p:cNvSpPr>
              <p:nvPr userDrawn="1"/>
            </p:nvSpPr>
            <p:spPr bwMode="auto">
              <a:xfrm>
                <a:off x="3676650" y="5708650"/>
                <a:ext cx="495300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9" name="Freeform 395"/>
              <p:cNvSpPr>
                <a:spLocks/>
              </p:cNvSpPr>
              <p:nvPr userDrawn="1"/>
            </p:nvSpPr>
            <p:spPr bwMode="auto">
              <a:xfrm>
                <a:off x="3676650" y="5753100"/>
                <a:ext cx="447675" cy="452438"/>
              </a:xfrm>
              <a:custGeom>
                <a:avLst/>
                <a:gdLst>
                  <a:gd name="T0" fmla="*/ 122 w 122"/>
                  <a:gd name="T1" fmla="*/ 123 h 123"/>
                  <a:gd name="T2" fmla="*/ 0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122" y="123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0" name="Freeform 396"/>
              <p:cNvSpPr>
                <a:spLocks/>
              </p:cNvSpPr>
              <p:nvPr userDrawn="1"/>
            </p:nvSpPr>
            <p:spPr bwMode="auto">
              <a:xfrm>
                <a:off x="3676650" y="5800725"/>
                <a:ext cx="403225" cy="404813"/>
              </a:xfrm>
              <a:custGeom>
                <a:avLst/>
                <a:gdLst>
                  <a:gd name="T0" fmla="*/ 110 w 110"/>
                  <a:gd name="T1" fmla="*/ 110 h 110"/>
                  <a:gd name="T2" fmla="*/ 0 w 110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10">
                    <a:moveTo>
                      <a:pt x="110" y="110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1" name="Freeform 397"/>
              <p:cNvSpPr>
                <a:spLocks/>
              </p:cNvSpPr>
              <p:nvPr userDrawn="1"/>
            </p:nvSpPr>
            <p:spPr bwMode="auto">
              <a:xfrm>
                <a:off x="3676650" y="5848350"/>
                <a:ext cx="355600" cy="357188"/>
              </a:xfrm>
              <a:custGeom>
                <a:avLst/>
                <a:gdLst>
                  <a:gd name="T0" fmla="*/ 97 w 97"/>
                  <a:gd name="T1" fmla="*/ 97 h 97"/>
                  <a:gd name="T2" fmla="*/ 0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97" y="97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2" name="Freeform 398"/>
              <p:cNvSpPr>
                <a:spLocks/>
              </p:cNvSpPr>
              <p:nvPr userDrawn="1"/>
            </p:nvSpPr>
            <p:spPr bwMode="auto">
              <a:xfrm>
                <a:off x="3676650" y="5895975"/>
                <a:ext cx="307975" cy="309563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7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3" name="Freeform 399"/>
              <p:cNvSpPr>
                <a:spLocks/>
              </p:cNvSpPr>
              <p:nvPr userDrawn="1"/>
            </p:nvSpPr>
            <p:spPr bwMode="auto">
              <a:xfrm>
                <a:off x="3676650" y="5943600"/>
                <a:ext cx="260350" cy="261938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1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4" name="Freeform 400"/>
              <p:cNvSpPr>
                <a:spLocks/>
              </p:cNvSpPr>
              <p:nvPr userDrawn="1"/>
            </p:nvSpPr>
            <p:spPr bwMode="auto">
              <a:xfrm>
                <a:off x="3676650" y="5991225"/>
                <a:ext cx="212725" cy="214313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5" name="Freeform 401"/>
              <p:cNvSpPr>
                <a:spLocks/>
              </p:cNvSpPr>
              <p:nvPr userDrawn="1"/>
            </p:nvSpPr>
            <p:spPr bwMode="auto">
              <a:xfrm>
                <a:off x="3676650" y="6038850"/>
                <a:ext cx="165100" cy="166688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6" name="Freeform 402"/>
              <p:cNvSpPr>
                <a:spLocks/>
              </p:cNvSpPr>
              <p:nvPr userDrawn="1"/>
            </p:nvSpPr>
            <p:spPr bwMode="auto">
              <a:xfrm>
                <a:off x="3676650" y="6083300"/>
                <a:ext cx="117475" cy="122238"/>
              </a:xfrm>
              <a:custGeom>
                <a:avLst/>
                <a:gdLst>
                  <a:gd name="T0" fmla="*/ 32 w 32"/>
                  <a:gd name="T1" fmla="*/ 33 h 33"/>
                  <a:gd name="T2" fmla="*/ 0 w 32"/>
                  <a:gd name="T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3">
                    <a:moveTo>
                      <a:pt x="32" y="33"/>
                    </a:moveTo>
                    <a:cubicBezTo>
                      <a:pt x="32" y="15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7" name="Freeform 403"/>
              <p:cNvSpPr>
                <a:spLocks/>
              </p:cNvSpPr>
              <p:nvPr userDrawn="1"/>
            </p:nvSpPr>
            <p:spPr bwMode="auto">
              <a:xfrm>
                <a:off x="3676650" y="6130925"/>
                <a:ext cx="73025" cy="74613"/>
              </a:xfrm>
              <a:custGeom>
                <a:avLst/>
                <a:gdLst>
                  <a:gd name="T0" fmla="*/ 20 w 20"/>
                  <a:gd name="T1" fmla="*/ 20 h 20"/>
                  <a:gd name="T2" fmla="*/ 0 w 20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20">
                    <a:moveTo>
                      <a:pt x="20" y="20"/>
                    </a:moveTo>
                    <a:cubicBezTo>
                      <a:pt x="20" y="9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8" name="Freeform 404"/>
              <p:cNvSpPr>
                <a:spLocks/>
              </p:cNvSpPr>
              <p:nvPr userDrawn="1"/>
            </p:nvSpPr>
            <p:spPr bwMode="auto">
              <a:xfrm>
                <a:off x="3676650" y="6178550"/>
                <a:ext cx="25400" cy="26988"/>
              </a:xfrm>
              <a:custGeom>
                <a:avLst/>
                <a:gdLst>
                  <a:gd name="T0" fmla="*/ 7 w 7"/>
                  <a:gd name="T1" fmla="*/ 7 h 7"/>
                  <a:gd name="T2" fmla="*/ 0 w 7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7" y="7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9" name="Freeform 405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0" name="Freeform 407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1" name="Freeform 408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877888" cy="874712"/>
              </a:xfrm>
              <a:custGeom>
                <a:avLst/>
                <a:gdLst>
                  <a:gd name="T0" fmla="*/ 0 w 239"/>
                  <a:gd name="T1" fmla="*/ 238 h 238"/>
                  <a:gd name="T2" fmla="*/ 239 w 239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9" h="238">
                    <a:moveTo>
                      <a:pt x="0" y="238"/>
                    </a:moveTo>
                    <a:cubicBezTo>
                      <a:pt x="132" y="238"/>
                      <a:pt x="239" y="131"/>
                      <a:pt x="23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2" name="Freeform 409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830263" cy="827087"/>
              </a:xfrm>
              <a:custGeom>
                <a:avLst/>
                <a:gdLst>
                  <a:gd name="T0" fmla="*/ 0 w 226"/>
                  <a:gd name="T1" fmla="*/ 225 h 225"/>
                  <a:gd name="T2" fmla="*/ 226 w 226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6" h="225">
                    <a:moveTo>
                      <a:pt x="0" y="225"/>
                    </a:moveTo>
                    <a:cubicBezTo>
                      <a:pt x="125" y="225"/>
                      <a:pt x="226" y="124"/>
                      <a:pt x="22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3" name="Freeform 410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782638" cy="779462"/>
              </a:xfrm>
              <a:custGeom>
                <a:avLst/>
                <a:gdLst>
                  <a:gd name="T0" fmla="*/ 0 w 213"/>
                  <a:gd name="T1" fmla="*/ 212 h 212"/>
                  <a:gd name="T2" fmla="*/ 213 w 213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212"/>
                    </a:moveTo>
                    <a:cubicBezTo>
                      <a:pt x="118" y="212"/>
                      <a:pt x="213" y="117"/>
                      <a:pt x="21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4" name="Freeform 411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735013" cy="731837"/>
              </a:xfrm>
              <a:custGeom>
                <a:avLst/>
                <a:gdLst>
                  <a:gd name="T0" fmla="*/ 0 w 200"/>
                  <a:gd name="T1" fmla="*/ 199 h 199"/>
                  <a:gd name="T2" fmla="*/ 200 w 200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0" y="199"/>
                    </a:moveTo>
                    <a:cubicBezTo>
                      <a:pt x="111" y="199"/>
                      <a:pt x="200" y="110"/>
                      <a:pt x="20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5" name="Freeform 412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685800" cy="684212"/>
              </a:xfrm>
              <a:custGeom>
                <a:avLst/>
                <a:gdLst>
                  <a:gd name="T0" fmla="*/ 0 w 187"/>
                  <a:gd name="T1" fmla="*/ 186 h 186"/>
                  <a:gd name="T2" fmla="*/ 187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186"/>
                    </a:moveTo>
                    <a:cubicBezTo>
                      <a:pt x="104" y="186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6" name="Freeform 413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638175" cy="639762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7" name="Freeform 414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590550" cy="592137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8" name="Freeform 415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542925" cy="544512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9" name="Freeform 416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498475" cy="496887"/>
              </a:xfrm>
              <a:custGeom>
                <a:avLst/>
                <a:gdLst>
                  <a:gd name="T0" fmla="*/ 0 w 136"/>
                  <a:gd name="T1" fmla="*/ 135 h 135"/>
                  <a:gd name="T2" fmla="*/ 136 w 136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6" h="135">
                    <a:moveTo>
                      <a:pt x="0" y="135"/>
                    </a:moveTo>
                    <a:cubicBezTo>
                      <a:pt x="75" y="135"/>
                      <a:pt x="136" y="75"/>
                      <a:pt x="13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0" name="Freeform 417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450850" cy="449262"/>
              </a:xfrm>
              <a:custGeom>
                <a:avLst/>
                <a:gdLst>
                  <a:gd name="T0" fmla="*/ 0 w 123"/>
                  <a:gd name="T1" fmla="*/ 122 h 122"/>
                  <a:gd name="T2" fmla="*/ 123 w 123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3" h="122">
                    <a:moveTo>
                      <a:pt x="0" y="122"/>
                    </a:moveTo>
                    <a:cubicBezTo>
                      <a:pt x="68" y="122"/>
                      <a:pt x="123" y="67"/>
                      <a:pt x="12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1" name="Freeform 418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403225" cy="401637"/>
              </a:xfrm>
              <a:custGeom>
                <a:avLst/>
                <a:gdLst>
                  <a:gd name="T0" fmla="*/ 0 w 110"/>
                  <a:gd name="T1" fmla="*/ 109 h 109"/>
                  <a:gd name="T2" fmla="*/ 110 w 110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109"/>
                    </a:moveTo>
                    <a:cubicBezTo>
                      <a:pt x="61" y="109"/>
                      <a:pt x="110" y="60"/>
                      <a:pt x="11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2" name="Freeform 419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355600" cy="352425"/>
              </a:xfrm>
              <a:custGeom>
                <a:avLst/>
                <a:gdLst>
                  <a:gd name="T0" fmla="*/ 0 w 97"/>
                  <a:gd name="T1" fmla="*/ 96 h 96"/>
                  <a:gd name="T2" fmla="*/ 97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96"/>
                    </a:moveTo>
                    <a:cubicBezTo>
                      <a:pt x="54" y="96"/>
                      <a:pt x="97" y="53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3" name="Freeform 420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307975" cy="304800"/>
              </a:xfrm>
              <a:custGeom>
                <a:avLst/>
                <a:gdLst>
                  <a:gd name="T0" fmla="*/ 0 w 84"/>
                  <a:gd name="T1" fmla="*/ 83 h 83"/>
                  <a:gd name="T2" fmla="*/ 84 w 84"/>
                  <a:gd name="T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83"/>
                    </a:moveTo>
                    <a:cubicBezTo>
                      <a:pt x="47" y="83"/>
                      <a:pt x="84" y="46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4" name="Freeform 421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260350" cy="260350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40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5" name="Freeform 422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212725" cy="212725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6" name="Freeform 423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168275" cy="165100"/>
              </a:xfrm>
              <a:custGeom>
                <a:avLst/>
                <a:gdLst>
                  <a:gd name="T0" fmla="*/ 0 w 46"/>
                  <a:gd name="T1" fmla="*/ 45 h 45"/>
                  <a:gd name="T2" fmla="*/ 46 w 46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5">
                    <a:moveTo>
                      <a:pt x="0" y="45"/>
                    </a:moveTo>
                    <a:cubicBezTo>
                      <a:pt x="25" y="45"/>
                      <a:pt x="46" y="25"/>
                      <a:pt x="4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7" name="Freeform 424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120650" cy="117475"/>
              </a:xfrm>
              <a:custGeom>
                <a:avLst/>
                <a:gdLst>
                  <a:gd name="T0" fmla="*/ 0 w 33"/>
                  <a:gd name="T1" fmla="*/ 32 h 32"/>
                  <a:gd name="T2" fmla="*/ 33 w 33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3" h="32">
                    <a:moveTo>
                      <a:pt x="0" y="32"/>
                    </a:moveTo>
                    <a:cubicBezTo>
                      <a:pt x="18" y="32"/>
                      <a:pt x="33" y="18"/>
                      <a:pt x="3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8" name="Freeform 425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73025" cy="69850"/>
              </a:xfrm>
              <a:custGeom>
                <a:avLst/>
                <a:gdLst>
                  <a:gd name="T0" fmla="*/ 0 w 20"/>
                  <a:gd name="T1" fmla="*/ 19 h 19"/>
                  <a:gd name="T2" fmla="*/ 20 w 20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0" y="19"/>
                    </a:moveTo>
                    <a:cubicBezTo>
                      <a:pt x="11" y="19"/>
                      <a:pt x="20" y="11"/>
                      <a:pt x="2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9" name="Freeform 426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25400" cy="22225"/>
              </a:xfrm>
              <a:custGeom>
                <a:avLst/>
                <a:gdLst>
                  <a:gd name="T0" fmla="*/ 0 w 7"/>
                  <a:gd name="T1" fmla="*/ 6 h 6"/>
                  <a:gd name="T2" fmla="*/ 7 w 7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0" y="6"/>
                    </a:moveTo>
                    <a:cubicBezTo>
                      <a:pt x="4" y="6"/>
                      <a:pt x="7" y="3"/>
                      <a:pt x="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16" name="Freeform 553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17" name="Freeform 554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18" name="Freeform 555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874713" cy="876300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2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19" name="Freeform 556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827088" cy="828675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5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0" name="Freeform 557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779463" cy="784225"/>
              </a:xfrm>
              <a:custGeom>
                <a:avLst/>
                <a:gdLst>
                  <a:gd name="T0" fmla="*/ 0 w 212"/>
                  <a:gd name="T1" fmla="*/ 213 h 213"/>
                  <a:gd name="T2" fmla="*/ 212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0" y="213"/>
                    </a:moveTo>
                    <a:cubicBezTo>
                      <a:pt x="117" y="213"/>
                      <a:pt x="212" y="118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1" name="Freeform 558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731838" cy="736600"/>
              </a:xfrm>
              <a:custGeom>
                <a:avLst/>
                <a:gdLst>
                  <a:gd name="T0" fmla="*/ 0 w 199"/>
                  <a:gd name="T1" fmla="*/ 200 h 200"/>
                  <a:gd name="T2" fmla="*/ 199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200"/>
                    </a:moveTo>
                    <a:cubicBezTo>
                      <a:pt x="110" y="200"/>
                      <a:pt x="199" y="111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2" name="Freeform 559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687388" cy="688975"/>
              </a:xfrm>
              <a:custGeom>
                <a:avLst/>
                <a:gdLst>
                  <a:gd name="T0" fmla="*/ 0 w 187"/>
                  <a:gd name="T1" fmla="*/ 187 h 187"/>
                  <a:gd name="T2" fmla="*/ 187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187"/>
                    </a:moveTo>
                    <a:cubicBezTo>
                      <a:pt x="103" y="187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3" name="Freeform 560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639763" cy="641350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4" name="Freeform 561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592138" cy="592137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5" name="Freeform 562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544513" cy="544512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6" name="Freeform 563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496888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7" name="Freeform 564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449263" cy="452437"/>
              </a:xfrm>
              <a:custGeom>
                <a:avLst/>
                <a:gdLst>
                  <a:gd name="T0" fmla="*/ 0 w 122"/>
                  <a:gd name="T1" fmla="*/ 123 h 123"/>
                  <a:gd name="T2" fmla="*/ 122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0" y="123"/>
                    </a:moveTo>
                    <a:cubicBezTo>
                      <a:pt x="68" y="123"/>
                      <a:pt x="122" y="68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8" name="Freeform 565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401638" cy="404812"/>
              </a:xfrm>
              <a:custGeom>
                <a:avLst/>
                <a:gdLst>
                  <a:gd name="T0" fmla="*/ 0 w 109"/>
                  <a:gd name="T1" fmla="*/ 110 h 110"/>
                  <a:gd name="T2" fmla="*/ 109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0" y="110"/>
                    </a:moveTo>
                    <a:cubicBezTo>
                      <a:pt x="60" y="110"/>
                      <a:pt x="109" y="61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9" name="Freeform 566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357188" cy="357187"/>
              </a:xfrm>
              <a:custGeom>
                <a:avLst/>
                <a:gdLst>
                  <a:gd name="T0" fmla="*/ 0 w 97"/>
                  <a:gd name="T1" fmla="*/ 97 h 97"/>
                  <a:gd name="T2" fmla="*/ 97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97"/>
                    </a:moveTo>
                    <a:cubicBezTo>
                      <a:pt x="53" y="97"/>
                      <a:pt x="97" y="54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0" name="Freeform 567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309563" cy="309562"/>
              </a:xfrm>
              <a:custGeom>
                <a:avLst/>
                <a:gdLst>
                  <a:gd name="T0" fmla="*/ 0 w 84"/>
                  <a:gd name="T1" fmla="*/ 84 h 84"/>
                  <a:gd name="T2" fmla="*/ 84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84"/>
                    </a:moveTo>
                    <a:cubicBezTo>
                      <a:pt x="46" y="84"/>
                      <a:pt x="84" y="47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1" name="Freeform 568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261938" cy="261937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2" name="Freeform 569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214313" cy="214312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3" name="Freeform 570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165100" cy="166687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4" name="Freeform 571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5" name="Freeform 572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69850" cy="74612"/>
              </a:xfrm>
              <a:custGeom>
                <a:avLst/>
                <a:gdLst>
                  <a:gd name="T0" fmla="*/ 0 w 19"/>
                  <a:gd name="T1" fmla="*/ 20 h 20"/>
                  <a:gd name="T2" fmla="*/ 19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0" y="20"/>
                    </a:moveTo>
                    <a:cubicBezTo>
                      <a:pt x="11" y="20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6" name="Freeform 573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22225" cy="26987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4" y="7"/>
                      <a:pt x="6" y="4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7" name="Freeform 574"/>
              <p:cNvSpPr>
                <a:spLocks/>
              </p:cNvSpPr>
              <p:nvPr userDrawn="1"/>
            </p:nvSpPr>
            <p:spPr bwMode="auto">
              <a:xfrm>
                <a:off x="8523287" y="4262438"/>
                <a:ext cx="969963" cy="971550"/>
              </a:xfrm>
              <a:custGeom>
                <a:avLst/>
                <a:gdLst>
                  <a:gd name="T0" fmla="*/ 0 w 264"/>
                  <a:gd name="T1" fmla="*/ 0 h 264"/>
                  <a:gd name="T2" fmla="*/ 264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0"/>
                    </a:moveTo>
                    <a:cubicBezTo>
                      <a:pt x="0" y="146"/>
                      <a:pt x="118" y="264"/>
                      <a:pt x="264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8" name="Freeform 575"/>
              <p:cNvSpPr>
                <a:spLocks/>
              </p:cNvSpPr>
              <p:nvPr userDrawn="1"/>
            </p:nvSpPr>
            <p:spPr bwMode="auto">
              <a:xfrm>
                <a:off x="8570912" y="4262438"/>
                <a:ext cx="922338" cy="923925"/>
              </a:xfrm>
              <a:custGeom>
                <a:avLst/>
                <a:gdLst>
                  <a:gd name="T0" fmla="*/ 0 w 251"/>
                  <a:gd name="T1" fmla="*/ 0 h 251"/>
                  <a:gd name="T2" fmla="*/ 251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0"/>
                    </a:moveTo>
                    <a:cubicBezTo>
                      <a:pt x="0" y="139"/>
                      <a:pt x="112" y="251"/>
                      <a:pt x="251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9" name="Freeform 576"/>
              <p:cNvSpPr>
                <a:spLocks/>
              </p:cNvSpPr>
              <p:nvPr userDrawn="1"/>
            </p:nvSpPr>
            <p:spPr bwMode="auto">
              <a:xfrm>
                <a:off x="8620125" y="4262438"/>
                <a:ext cx="873125" cy="876300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2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0" name="Freeform 577"/>
              <p:cNvSpPr>
                <a:spLocks/>
              </p:cNvSpPr>
              <p:nvPr userDrawn="1"/>
            </p:nvSpPr>
            <p:spPr bwMode="auto">
              <a:xfrm>
                <a:off x="8667750" y="4262438"/>
                <a:ext cx="825500" cy="828675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5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1" name="Freeform 578"/>
              <p:cNvSpPr>
                <a:spLocks/>
              </p:cNvSpPr>
              <p:nvPr userDrawn="1"/>
            </p:nvSpPr>
            <p:spPr bwMode="auto">
              <a:xfrm>
                <a:off x="8710612" y="4262438"/>
                <a:ext cx="782638" cy="779462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2" name="Freeform 579"/>
              <p:cNvSpPr>
                <a:spLocks/>
              </p:cNvSpPr>
              <p:nvPr userDrawn="1"/>
            </p:nvSpPr>
            <p:spPr bwMode="auto">
              <a:xfrm>
                <a:off x="8758237" y="4262438"/>
                <a:ext cx="735013" cy="736600"/>
              </a:xfrm>
              <a:custGeom>
                <a:avLst/>
                <a:gdLst>
                  <a:gd name="T0" fmla="*/ 0 w 200"/>
                  <a:gd name="T1" fmla="*/ 0 h 200"/>
                  <a:gd name="T2" fmla="*/ 200 w 200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0" y="0"/>
                    </a:moveTo>
                    <a:cubicBezTo>
                      <a:pt x="0" y="110"/>
                      <a:pt x="90" y="200"/>
                      <a:pt x="20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3" name="Freeform 580"/>
              <p:cNvSpPr>
                <a:spLocks/>
              </p:cNvSpPr>
              <p:nvPr userDrawn="1"/>
            </p:nvSpPr>
            <p:spPr bwMode="auto">
              <a:xfrm>
                <a:off x="8807450" y="4262438"/>
                <a:ext cx="685800" cy="687387"/>
              </a:xfrm>
              <a:custGeom>
                <a:avLst/>
                <a:gdLst>
                  <a:gd name="T0" fmla="*/ 0 w 187"/>
                  <a:gd name="T1" fmla="*/ 0 h 187"/>
                  <a:gd name="T2" fmla="*/ 187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0"/>
                    </a:moveTo>
                    <a:cubicBezTo>
                      <a:pt x="0" y="103"/>
                      <a:pt x="84" y="187"/>
                      <a:pt x="187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4" name="Freeform 581"/>
              <p:cNvSpPr>
                <a:spLocks/>
              </p:cNvSpPr>
              <p:nvPr userDrawn="1"/>
            </p:nvSpPr>
            <p:spPr bwMode="auto">
              <a:xfrm>
                <a:off x="8855075" y="4262438"/>
                <a:ext cx="638175" cy="639762"/>
              </a:xfrm>
              <a:custGeom>
                <a:avLst/>
                <a:gdLst>
                  <a:gd name="T0" fmla="*/ 0 w 174"/>
                  <a:gd name="T1" fmla="*/ 0 h 174"/>
                  <a:gd name="T2" fmla="*/ 174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0"/>
                    </a:moveTo>
                    <a:cubicBezTo>
                      <a:pt x="0" y="96"/>
                      <a:pt x="78" y="174"/>
                      <a:pt x="174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5" name="Freeform 582"/>
              <p:cNvSpPr>
                <a:spLocks/>
              </p:cNvSpPr>
              <p:nvPr userDrawn="1"/>
            </p:nvSpPr>
            <p:spPr bwMode="auto">
              <a:xfrm>
                <a:off x="8902700" y="4262438"/>
                <a:ext cx="590550" cy="592137"/>
              </a:xfrm>
              <a:custGeom>
                <a:avLst/>
                <a:gdLst>
                  <a:gd name="T0" fmla="*/ 0 w 161"/>
                  <a:gd name="T1" fmla="*/ 0 h 161"/>
                  <a:gd name="T2" fmla="*/ 161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0"/>
                    </a:moveTo>
                    <a:cubicBezTo>
                      <a:pt x="0" y="89"/>
                      <a:pt x="72" y="161"/>
                      <a:pt x="161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6" name="Freeform 583"/>
              <p:cNvSpPr>
                <a:spLocks/>
              </p:cNvSpPr>
              <p:nvPr userDrawn="1"/>
            </p:nvSpPr>
            <p:spPr bwMode="auto">
              <a:xfrm>
                <a:off x="8950325" y="4262438"/>
                <a:ext cx="542925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2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7" name="Freeform 584"/>
              <p:cNvSpPr>
                <a:spLocks/>
              </p:cNvSpPr>
              <p:nvPr userDrawn="1"/>
            </p:nvSpPr>
            <p:spPr bwMode="auto">
              <a:xfrm>
                <a:off x="8997950" y="42624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5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8" name="Freeform 585"/>
              <p:cNvSpPr>
                <a:spLocks/>
              </p:cNvSpPr>
              <p:nvPr userDrawn="1"/>
            </p:nvSpPr>
            <p:spPr bwMode="auto">
              <a:xfrm>
                <a:off x="9045575" y="4262438"/>
                <a:ext cx="447675" cy="449262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8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9" name="Freeform 586"/>
              <p:cNvSpPr>
                <a:spLocks/>
              </p:cNvSpPr>
              <p:nvPr userDrawn="1"/>
            </p:nvSpPr>
            <p:spPr bwMode="auto">
              <a:xfrm>
                <a:off x="9090025" y="4262438"/>
                <a:ext cx="403225" cy="401637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1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50" name="Freeform 587"/>
              <p:cNvSpPr>
                <a:spLocks/>
              </p:cNvSpPr>
              <p:nvPr userDrawn="1"/>
            </p:nvSpPr>
            <p:spPr bwMode="auto">
              <a:xfrm>
                <a:off x="9137650" y="4262438"/>
                <a:ext cx="355600" cy="357187"/>
              </a:xfrm>
              <a:custGeom>
                <a:avLst/>
                <a:gdLst>
                  <a:gd name="T0" fmla="*/ 0 w 97"/>
                  <a:gd name="T1" fmla="*/ 0 h 97"/>
                  <a:gd name="T2" fmla="*/ 97 w 97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0"/>
                    </a:moveTo>
                    <a:cubicBezTo>
                      <a:pt x="0" y="53"/>
                      <a:pt x="43" y="97"/>
                      <a:pt x="97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51" name="Freeform 588"/>
              <p:cNvSpPr>
                <a:spLocks/>
              </p:cNvSpPr>
              <p:nvPr userDrawn="1"/>
            </p:nvSpPr>
            <p:spPr bwMode="auto">
              <a:xfrm>
                <a:off x="9185275" y="4262438"/>
                <a:ext cx="307975" cy="309562"/>
              </a:xfrm>
              <a:custGeom>
                <a:avLst/>
                <a:gdLst>
                  <a:gd name="T0" fmla="*/ 0 w 84"/>
                  <a:gd name="T1" fmla="*/ 0 h 84"/>
                  <a:gd name="T2" fmla="*/ 84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0"/>
                    </a:moveTo>
                    <a:cubicBezTo>
                      <a:pt x="0" y="46"/>
                      <a:pt x="38" y="84"/>
                      <a:pt x="84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52" name="Freeform 589"/>
              <p:cNvSpPr>
                <a:spLocks/>
              </p:cNvSpPr>
              <p:nvPr userDrawn="1"/>
            </p:nvSpPr>
            <p:spPr bwMode="auto">
              <a:xfrm>
                <a:off x="9232900" y="4262438"/>
                <a:ext cx="260350" cy="261937"/>
              </a:xfrm>
              <a:custGeom>
                <a:avLst/>
                <a:gdLst>
                  <a:gd name="T0" fmla="*/ 0 w 71"/>
                  <a:gd name="T1" fmla="*/ 0 h 71"/>
                  <a:gd name="T2" fmla="*/ 71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0" y="39"/>
                      <a:pt x="32" y="71"/>
                      <a:pt x="71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79" name="Freeform 617"/>
              <p:cNvSpPr>
                <a:spLocks/>
              </p:cNvSpPr>
              <p:nvPr userDrawn="1"/>
            </p:nvSpPr>
            <p:spPr bwMode="auto">
              <a:xfrm>
                <a:off x="7553325" y="32908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0" name="Freeform 618"/>
              <p:cNvSpPr>
                <a:spLocks/>
              </p:cNvSpPr>
              <p:nvPr userDrawn="1"/>
            </p:nvSpPr>
            <p:spPr bwMode="auto">
              <a:xfrm>
                <a:off x="7553325" y="33385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1" name="Freeform 619"/>
              <p:cNvSpPr>
                <a:spLocks/>
              </p:cNvSpPr>
              <p:nvPr userDrawn="1"/>
            </p:nvSpPr>
            <p:spPr bwMode="auto">
              <a:xfrm>
                <a:off x="7553325" y="3387725"/>
                <a:ext cx="874713" cy="874712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7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2" name="Freeform 620"/>
              <p:cNvSpPr>
                <a:spLocks/>
              </p:cNvSpPr>
              <p:nvPr userDrawn="1"/>
            </p:nvSpPr>
            <p:spPr bwMode="auto">
              <a:xfrm>
                <a:off x="7553325" y="3435350"/>
                <a:ext cx="827088" cy="827087"/>
              </a:xfrm>
              <a:custGeom>
                <a:avLst/>
                <a:gdLst>
                  <a:gd name="T0" fmla="*/ 225 w 225"/>
                  <a:gd name="T1" fmla="*/ 225 h 225"/>
                  <a:gd name="T2" fmla="*/ 0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225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3" name="Freeform 621"/>
              <p:cNvSpPr>
                <a:spLocks/>
              </p:cNvSpPr>
              <p:nvPr userDrawn="1"/>
            </p:nvSpPr>
            <p:spPr bwMode="auto">
              <a:xfrm>
                <a:off x="7553325" y="3482975"/>
                <a:ext cx="782638" cy="779462"/>
              </a:xfrm>
              <a:custGeom>
                <a:avLst/>
                <a:gdLst>
                  <a:gd name="T0" fmla="*/ 213 w 213"/>
                  <a:gd name="T1" fmla="*/ 212 h 212"/>
                  <a:gd name="T2" fmla="*/ 0 w 213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213" y="212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4" name="Freeform 622"/>
              <p:cNvSpPr>
                <a:spLocks/>
              </p:cNvSpPr>
              <p:nvPr userDrawn="1"/>
            </p:nvSpPr>
            <p:spPr bwMode="auto">
              <a:xfrm>
                <a:off x="7553325" y="3530600"/>
                <a:ext cx="735013" cy="731837"/>
              </a:xfrm>
              <a:custGeom>
                <a:avLst/>
                <a:gdLst>
                  <a:gd name="T0" fmla="*/ 200 w 200"/>
                  <a:gd name="T1" fmla="*/ 199 h 199"/>
                  <a:gd name="T2" fmla="*/ 0 w 200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200" y="199"/>
                    </a:moveTo>
                    <a:cubicBezTo>
                      <a:pt x="200" y="89"/>
                      <a:pt x="1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5" name="Freeform 623"/>
              <p:cNvSpPr>
                <a:spLocks/>
              </p:cNvSpPr>
              <p:nvPr userDrawn="1"/>
            </p:nvSpPr>
            <p:spPr bwMode="auto">
              <a:xfrm>
                <a:off x="7553325" y="3578225"/>
                <a:ext cx="687388" cy="684212"/>
              </a:xfrm>
              <a:custGeom>
                <a:avLst/>
                <a:gdLst>
                  <a:gd name="T0" fmla="*/ 187 w 187"/>
                  <a:gd name="T1" fmla="*/ 186 h 186"/>
                  <a:gd name="T2" fmla="*/ 0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186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6" name="Freeform 624"/>
              <p:cNvSpPr>
                <a:spLocks/>
              </p:cNvSpPr>
              <p:nvPr userDrawn="1"/>
            </p:nvSpPr>
            <p:spPr bwMode="auto">
              <a:xfrm>
                <a:off x="7553325" y="3622675"/>
                <a:ext cx="639763" cy="639762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7" name="Freeform 625"/>
              <p:cNvSpPr>
                <a:spLocks/>
              </p:cNvSpPr>
              <p:nvPr userDrawn="1"/>
            </p:nvSpPr>
            <p:spPr bwMode="auto">
              <a:xfrm>
                <a:off x="7553325" y="3670300"/>
                <a:ext cx="592138" cy="592137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8" name="Freeform 626"/>
              <p:cNvSpPr>
                <a:spLocks/>
              </p:cNvSpPr>
              <p:nvPr userDrawn="1"/>
            </p:nvSpPr>
            <p:spPr bwMode="auto">
              <a:xfrm>
                <a:off x="7553325" y="3717925"/>
                <a:ext cx="544513" cy="544512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9" name="Freeform 627"/>
              <p:cNvSpPr>
                <a:spLocks/>
              </p:cNvSpPr>
              <p:nvPr userDrawn="1"/>
            </p:nvSpPr>
            <p:spPr bwMode="auto">
              <a:xfrm>
                <a:off x="7553325" y="3765550"/>
                <a:ext cx="496888" cy="496887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0" name="Freeform 628"/>
              <p:cNvSpPr>
                <a:spLocks/>
              </p:cNvSpPr>
              <p:nvPr userDrawn="1"/>
            </p:nvSpPr>
            <p:spPr bwMode="auto">
              <a:xfrm>
                <a:off x="7553325" y="3813175"/>
                <a:ext cx="449263" cy="449262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1" name="Freeform 629"/>
              <p:cNvSpPr>
                <a:spLocks/>
              </p:cNvSpPr>
              <p:nvPr userDrawn="1"/>
            </p:nvSpPr>
            <p:spPr bwMode="auto">
              <a:xfrm>
                <a:off x="7553325" y="3862388"/>
                <a:ext cx="404813" cy="400050"/>
              </a:xfrm>
              <a:custGeom>
                <a:avLst/>
                <a:gdLst>
                  <a:gd name="T0" fmla="*/ 110 w 110"/>
                  <a:gd name="T1" fmla="*/ 109 h 109"/>
                  <a:gd name="T2" fmla="*/ 0 w 110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110" y="109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2" name="Freeform 630"/>
              <p:cNvSpPr>
                <a:spLocks/>
              </p:cNvSpPr>
              <p:nvPr userDrawn="1"/>
            </p:nvSpPr>
            <p:spPr bwMode="auto">
              <a:xfrm>
                <a:off x="7553325" y="3910013"/>
                <a:ext cx="357188" cy="352425"/>
              </a:xfrm>
              <a:custGeom>
                <a:avLst/>
                <a:gdLst>
                  <a:gd name="T0" fmla="*/ 97 w 97"/>
                  <a:gd name="T1" fmla="*/ 96 h 96"/>
                  <a:gd name="T2" fmla="*/ 0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97" y="96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3" name="Freeform 631"/>
              <p:cNvSpPr>
                <a:spLocks/>
              </p:cNvSpPr>
              <p:nvPr userDrawn="1"/>
            </p:nvSpPr>
            <p:spPr bwMode="auto">
              <a:xfrm>
                <a:off x="7553325" y="3952875"/>
                <a:ext cx="309563" cy="309562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8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4" name="Freeform 632"/>
              <p:cNvSpPr>
                <a:spLocks/>
              </p:cNvSpPr>
              <p:nvPr userDrawn="1"/>
            </p:nvSpPr>
            <p:spPr bwMode="auto">
              <a:xfrm>
                <a:off x="7553325" y="4002088"/>
                <a:ext cx="261938" cy="260350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2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5" name="Freeform 633"/>
              <p:cNvSpPr>
                <a:spLocks/>
              </p:cNvSpPr>
              <p:nvPr userDrawn="1"/>
            </p:nvSpPr>
            <p:spPr bwMode="auto">
              <a:xfrm>
                <a:off x="7553325" y="4049713"/>
                <a:ext cx="212725" cy="212725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6" name="Freeform 634"/>
              <p:cNvSpPr>
                <a:spLocks/>
              </p:cNvSpPr>
              <p:nvPr userDrawn="1"/>
            </p:nvSpPr>
            <p:spPr bwMode="auto">
              <a:xfrm>
                <a:off x="7553325" y="4097338"/>
                <a:ext cx="165100" cy="165100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7" name="Freeform 635"/>
              <p:cNvSpPr>
                <a:spLocks/>
              </p:cNvSpPr>
              <p:nvPr userDrawn="1"/>
            </p:nvSpPr>
            <p:spPr bwMode="auto">
              <a:xfrm>
                <a:off x="7553325" y="4144963"/>
                <a:ext cx="117475" cy="117475"/>
              </a:xfrm>
              <a:custGeom>
                <a:avLst/>
                <a:gdLst>
                  <a:gd name="T0" fmla="*/ 32 w 32"/>
                  <a:gd name="T1" fmla="*/ 32 h 32"/>
                  <a:gd name="T2" fmla="*/ 0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32"/>
                    </a:moveTo>
                    <a:cubicBezTo>
                      <a:pt x="32" y="14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8" name="Freeform 636"/>
              <p:cNvSpPr>
                <a:spLocks/>
              </p:cNvSpPr>
              <p:nvPr userDrawn="1"/>
            </p:nvSpPr>
            <p:spPr bwMode="auto">
              <a:xfrm>
                <a:off x="7553325" y="4192588"/>
                <a:ext cx="73025" cy="69850"/>
              </a:xfrm>
              <a:custGeom>
                <a:avLst/>
                <a:gdLst>
                  <a:gd name="T0" fmla="*/ 20 w 20"/>
                  <a:gd name="T1" fmla="*/ 19 h 19"/>
                  <a:gd name="T2" fmla="*/ 0 w 20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20" y="19"/>
                    </a:moveTo>
                    <a:cubicBezTo>
                      <a:pt x="20" y="8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9" name="Freeform 637"/>
              <p:cNvSpPr>
                <a:spLocks/>
              </p:cNvSpPr>
              <p:nvPr userDrawn="1"/>
            </p:nvSpPr>
            <p:spPr bwMode="auto">
              <a:xfrm>
                <a:off x="7553325" y="4240213"/>
                <a:ext cx="25400" cy="22225"/>
              </a:xfrm>
              <a:custGeom>
                <a:avLst/>
                <a:gdLst>
                  <a:gd name="T0" fmla="*/ 7 w 7"/>
                  <a:gd name="T1" fmla="*/ 6 h 6"/>
                  <a:gd name="T2" fmla="*/ 0 w 7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0" name="Freeform 638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966788" cy="971550"/>
              </a:xfrm>
              <a:custGeom>
                <a:avLst/>
                <a:gdLst>
                  <a:gd name="T0" fmla="*/ 0 w 263"/>
                  <a:gd name="T1" fmla="*/ 264 h 264"/>
                  <a:gd name="T2" fmla="*/ 263 w 263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0" y="264"/>
                    </a:moveTo>
                    <a:cubicBezTo>
                      <a:pt x="145" y="264"/>
                      <a:pt x="263" y="146"/>
                      <a:pt x="26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1" name="Freeform 639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919163" cy="923925"/>
              </a:xfrm>
              <a:custGeom>
                <a:avLst/>
                <a:gdLst>
                  <a:gd name="T0" fmla="*/ 0 w 250"/>
                  <a:gd name="T1" fmla="*/ 251 h 251"/>
                  <a:gd name="T2" fmla="*/ 250 w 250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0" h="251">
                    <a:moveTo>
                      <a:pt x="0" y="251"/>
                    </a:moveTo>
                    <a:cubicBezTo>
                      <a:pt x="138" y="251"/>
                      <a:pt x="250" y="139"/>
                      <a:pt x="25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2" name="Freeform 640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874713" cy="876300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1" y="238"/>
                      <a:pt x="238" y="132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3" name="Freeform 641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827088" cy="828675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5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4" name="Freeform 642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779463" cy="784225"/>
              </a:xfrm>
              <a:custGeom>
                <a:avLst/>
                <a:gdLst>
                  <a:gd name="T0" fmla="*/ 0 w 212"/>
                  <a:gd name="T1" fmla="*/ 213 h 213"/>
                  <a:gd name="T2" fmla="*/ 212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0" y="213"/>
                    </a:moveTo>
                    <a:cubicBezTo>
                      <a:pt x="117" y="213"/>
                      <a:pt x="212" y="118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5" name="Freeform 643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731838" cy="736600"/>
              </a:xfrm>
              <a:custGeom>
                <a:avLst/>
                <a:gdLst>
                  <a:gd name="T0" fmla="*/ 0 w 199"/>
                  <a:gd name="T1" fmla="*/ 200 h 200"/>
                  <a:gd name="T2" fmla="*/ 199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200"/>
                    </a:moveTo>
                    <a:cubicBezTo>
                      <a:pt x="110" y="200"/>
                      <a:pt x="199" y="111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6" name="Freeform 644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684213" cy="688975"/>
              </a:xfrm>
              <a:custGeom>
                <a:avLst/>
                <a:gdLst>
                  <a:gd name="T0" fmla="*/ 0 w 186"/>
                  <a:gd name="T1" fmla="*/ 187 h 187"/>
                  <a:gd name="T2" fmla="*/ 186 w 186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0" y="187"/>
                    </a:moveTo>
                    <a:cubicBezTo>
                      <a:pt x="103" y="187"/>
                      <a:pt x="186" y="103"/>
                      <a:pt x="18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7" name="Freeform 645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636588" cy="641350"/>
              </a:xfrm>
              <a:custGeom>
                <a:avLst/>
                <a:gdLst>
                  <a:gd name="T0" fmla="*/ 0 w 173"/>
                  <a:gd name="T1" fmla="*/ 174 h 174"/>
                  <a:gd name="T2" fmla="*/ 173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0" y="174"/>
                    </a:moveTo>
                    <a:cubicBezTo>
                      <a:pt x="96" y="174"/>
                      <a:pt x="173" y="96"/>
                      <a:pt x="17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8" name="Freeform 646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588963" cy="592137"/>
              </a:xfrm>
              <a:custGeom>
                <a:avLst/>
                <a:gdLst>
                  <a:gd name="T0" fmla="*/ 0 w 160"/>
                  <a:gd name="T1" fmla="*/ 161 h 161"/>
                  <a:gd name="T2" fmla="*/ 160 w 160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0" h="161">
                    <a:moveTo>
                      <a:pt x="0" y="161"/>
                    </a:moveTo>
                    <a:cubicBezTo>
                      <a:pt x="88" y="161"/>
                      <a:pt x="160" y="89"/>
                      <a:pt x="16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9" name="Freeform 647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541338" cy="544512"/>
              </a:xfrm>
              <a:custGeom>
                <a:avLst/>
                <a:gdLst>
                  <a:gd name="T0" fmla="*/ 0 w 147"/>
                  <a:gd name="T1" fmla="*/ 148 h 148"/>
                  <a:gd name="T2" fmla="*/ 147 w 147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7" h="148">
                    <a:moveTo>
                      <a:pt x="0" y="148"/>
                    </a:moveTo>
                    <a:cubicBezTo>
                      <a:pt x="81" y="148"/>
                      <a:pt x="147" y="82"/>
                      <a:pt x="14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0" name="Freeform 648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496888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4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1" name="Freeform 649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449263" cy="452437"/>
              </a:xfrm>
              <a:custGeom>
                <a:avLst/>
                <a:gdLst>
                  <a:gd name="T0" fmla="*/ 0 w 122"/>
                  <a:gd name="T1" fmla="*/ 123 h 123"/>
                  <a:gd name="T2" fmla="*/ 122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0" y="123"/>
                    </a:moveTo>
                    <a:cubicBezTo>
                      <a:pt x="67" y="123"/>
                      <a:pt x="122" y="68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2" name="Freeform 650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401638" cy="404812"/>
              </a:xfrm>
              <a:custGeom>
                <a:avLst/>
                <a:gdLst>
                  <a:gd name="T0" fmla="*/ 0 w 109"/>
                  <a:gd name="T1" fmla="*/ 110 h 110"/>
                  <a:gd name="T2" fmla="*/ 109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0" y="110"/>
                    </a:moveTo>
                    <a:cubicBezTo>
                      <a:pt x="60" y="110"/>
                      <a:pt x="109" y="61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3" name="Freeform 651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354013" cy="357187"/>
              </a:xfrm>
              <a:custGeom>
                <a:avLst/>
                <a:gdLst>
                  <a:gd name="T0" fmla="*/ 0 w 96"/>
                  <a:gd name="T1" fmla="*/ 97 h 97"/>
                  <a:gd name="T2" fmla="*/ 96 w 96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0" y="97"/>
                    </a:moveTo>
                    <a:cubicBezTo>
                      <a:pt x="53" y="97"/>
                      <a:pt x="96" y="54"/>
                      <a:pt x="9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4" name="Freeform 652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304800" cy="309562"/>
              </a:xfrm>
              <a:custGeom>
                <a:avLst/>
                <a:gdLst>
                  <a:gd name="T0" fmla="*/ 0 w 83"/>
                  <a:gd name="T1" fmla="*/ 84 h 84"/>
                  <a:gd name="T2" fmla="*/ 83 w 83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0" y="84"/>
                    </a:moveTo>
                    <a:cubicBezTo>
                      <a:pt x="46" y="84"/>
                      <a:pt x="83" y="47"/>
                      <a:pt x="8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5" name="Freeform 653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257175" cy="261937"/>
              </a:xfrm>
              <a:custGeom>
                <a:avLst/>
                <a:gdLst>
                  <a:gd name="T0" fmla="*/ 0 w 70"/>
                  <a:gd name="T1" fmla="*/ 71 h 71"/>
                  <a:gd name="T2" fmla="*/ 70 w 70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0" y="71"/>
                    </a:moveTo>
                    <a:cubicBezTo>
                      <a:pt x="39" y="71"/>
                      <a:pt x="70" y="39"/>
                      <a:pt x="7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6" name="Freeform 654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209550" cy="214312"/>
              </a:xfrm>
              <a:custGeom>
                <a:avLst/>
                <a:gdLst>
                  <a:gd name="T0" fmla="*/ 0 w 57"/>
                  <a:gd name="T1" fmla="*/ 58 h 58"/>
                  <a:gd name="T2" fmla="*/ 57 w 57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7" h="58">
                    <a:moveTo>
                      <a:pt x="0" y="58"/>
                    </a:moveTo>
                    <a:cubicBezTo>
                      <a:pt x="32" y="58"/>
                      <a:pt x="57" y="32"/>
                      <a:pt x="5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7" name="Freeform 655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165100" cy="166687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4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8" name="Freeform 656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7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9" name="Freeform 657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69850" cy="74612"/>
              </a:xfrm>
              <a:custGeom>
                <a:avLst/>
                <a:gdLst>
                  <a:gd name="T0" fmla="*/ 0 w 19"/>
                  <a:gd name="T1" fmla="*/ 20 h 20"/>
                  <a:gd name="T2" fmla="*/ 19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0" y="20"/>
                    </a:moveTo>
                    <a:cubicBezTo>
                      <a:pt x="10" y="20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0" name="Freeform 658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22225" cy="26987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3" y="7"/>
                      <a:pt x="6" y="4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1" name="Freeform 659"/>
              <p:cNvSpPr>
                <a:spLocks/>
              </p:cNvSpPr>
              <p:nvPr userDrawn="1"/>
            </p:nvSpPr>
            <p:spPr bwMode="auto">
              <a:xfrm>
                <a:off x="6586537" y="4262438"/>
                <a:ext cx="966788" cy="971550"/>
              </a:xfrm>
              <a:custGeom>
                <a:avLst/>
                <a:gdLst>
                  <a:gd name="T0" fmla="*/ 0 w 263"/>
                  <a:gd name="T1" fmla="*/ 0 h 264"/>
                  <a:gd name="T2" fmla="*/ 263 w 263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0" y="0"/>
                    </a:moveTo>
                    <a:cubicBezTo>
                      <a:pt x="0" y="146"/>
                      <a:pt x="117" y="264"/>
                      <a:pt x="263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2" name="Freeform 660"/>
              <p:cNvSpPr>
                <a:spLocks/>
              </p:cNvSpPr>
              <p:nvPr userDrawn="1"/>
            </p:nvSpPr>
            <p:spPr bwMode="auto">
              <a:xfrm>
                <a:off x="6630987" y="4262438"/>
                <a:ext cx="922338" cy="923925"/>
              </a:xfrm>
              <a:custGeom>
                <a:avLst/>
                <a:gdLst>
                  <a:gd name="T0" fmla="*/ 0 w 251"/>
                  <a:gd name="T1" fmla="*/ 0 h 251"/>
                  <a:gd name="T2" fmla="*/ 251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0"/>
                    </a:moveTo>
                    <a:cubicBezTo>
                      <a:pt x="0" y="139"/>
                      <a:pt x="113" y="251"/>
                      <a:pt x="251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3" name="Freeform 661"/>
              <p:cNvSpPr>
                <a:spLocks/>
              </p:cNvSpPr>
              <p:nvPr userDrawn="1"/>
            </p:nvSpPr>
            <p:spPr bwMode="auto">
              <a:xfrm>
                <a:off x="6678612" y="4262438"/>
                <a:ext cx="874713" cy="876300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2"/>
                      <a:pt x="107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4" name="Freeform 662"/>
              <p:cNvSpPr>
                <a:spLocks/>
              </p:cNvSpPr>
              <p:nvPr userDrawn="1"/>
            </p:nvSpPr>
            <p:spPr bwMode="auto">
              <a:xfrm>
                <a:off x="6726237" y="4262438"/>
                <a:ext cx="827088" cy="828675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5"/>
                      <a:pt x="101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5" name="Freeform 663"/>
              <p:cNvSpPr>
                <a:spLocks/>
              </p:cNvSpPr>
              <p:nvPr userDrawn="1"/>
            </p:nvSpPr>
            <p:spPr bwMode="auto">
              <a:xfrm>
                <a:off x="6773862" y="4262438"/>
                <a:ext cx="779463" cy="779462"/>
              </a:xfrm>
              <a:custGeom>
                <a:avLst/>
                <a:gdLst>
                  <a:gd name="T0" fmla="*/ 0 w 212"/>
                  <a:gd name="T1" fmla="*/ 0 h 212"/>
                  <a:gd name="T2" fmla="*/ 212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0"/>
                    </a:moveTo>
                    <a:cubicBezTo>
                      <a:pt x="0" y="117"/>
                      <a:pt x="95" y="212"/>
                      <a:pt x="212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6" name="Freeform 664"/>
              <p:cNvSpPr>
                <a:spLocks/>
              </p:cNvSpPr>
              <p:nvPr userDrawn="1"/>
            </p:nvSpPr>
            <p:spPr bwMode="auto">
              <a:xfrm>
                <a:off x="6821487" y="4262438"/>
                <a:ext cx="731838" cy="736600"/>
              </a:xfrm>
              <a:custGeom>
                <a:avLst/>
                <a:gdLst>
                  <a:gd name="T0" fmla="*/ 0 w 199"/>
                  <a:gd name="T1" fmla="*/ 0 h 200"/>
                  <a:gd name="T2" fmla="*/ 199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0"/>
                    </a:moveTo>
                    <a:cubicBezTo>
                      <a:pt x="0" y="110"/>
                      <a:pt x="89" y="200"/>
                      <a:pt x="199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7" name="Freeform 665"/>
              <p:cNvSpPr>
                <a:spLocks/>
              </p:cNvSpPr>
              <p:nvPr userDrawn="1"/>
            </p:nvSpPr>
            <p:spPr bwMode="auto">
              <a:xfrm>
                <a:off x="6870700" y="4262438"/>
                <a:ext cx="682625" cy="687387"/>
              </a:xfrm>
              <a:custGeom>
                <a:avLst/>
                <a:gdLst>
                  <a:gd name="T0" fmla="*/ 0 w 186"/>
                  <a:gd name="T1" fmla="*/ 0 h 187"/>
                  <a:gd name="T2" fmla="*/ 186 w 186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0" y="0"/>
                    </a:moveTo>
                    <a:cubicBezTo>
                      <a:pt x="0" y="103"/>
                      <a:pt x="83" y="187"/>
                      <a:pt x="186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8" name="Freeform 666"/>
              <p:cNvSpPr>
                <a:spLocks/>
              </p:cNvSpPr>
              <p:nvPr userDrawn="1"/>
            </p:nvSpPr>
            <p:spPr bwMode="auto">
              <a:xfrm>
                <a:off x="6918325" y="4262438"/>
                <a:ext cx="635000" cy="639762"/>
              </a:xfrm>
              <a:custGeom>
                <a:avLst/>
                <a:gdLst>
                  <a:gd name="T0" fmla="*/ 0 w 173"/>
                  <a:gd name="T1" fmla="*/ 0 h 174"/>
                  <a:gd name="T2" fmla="*/ 173 w 173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0" y="0"/>
                    </a:moveTo>
                    <a:cubicBezTo>
                      <a:pt x="0" y="96"/>
                      <a:pt x="77" y="174"/>
                      <a:pt x="173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9" name="Freeform 667"/>
              <p:cNvSpPr>
                <a:spLocks/>
              </p:cNvSpPr>
              <p:nvPr userDrawn="1"/>
            </p:nvSpPr>
            <p:spPr bwMode="auto">
              <a:xfrm>
                <a:off x="6961187" y="4262438"/>
                <a:ext cx="592138" cy="592137"/>
              </a:xfrm>
              <a:custGeom>
                <a:avLst/>
                <a:gdLst>
                  <a:gd name="T0" fmla="*/ 0 w 161"/>
                  <a:gd name="T1" fmla="*/ 0 h 161"/>
                  <a:gd name="T2" fmla="*/ 161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0"/>
                    </a:moveTo>
                    <a:cubicBezTo>
                      <a:pt x="0" y="89"/>
                      <a:pt x="72" y="161"/>
                      <a:pt x="161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0" name="Freeform 668"/>
              <p:cNvSpPr>
                <a:spLocks/>
              </p:cNvSpPr>
              <p:nvPr userDrawn="1"/>
            </p:nvSpPr>
            <p:spPr bwMode="auto">
              <a:xfrm>
                <a:off x="7010400" y="4262438"/>
                <a:ext cx="542925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2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1" name="Freeform 669"/>
              <p:cNvSpPr>
                <a:spLocks/>
              </p:cNvSpPr>
              <p:nvPr userDrawn="1"/>
            </p:nvSpPr>
            <p:spPr bwMode="auto">
              <a:xfrm>
                <a:off x="7058025" y="42624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5"/>
                      <a:pt x="61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2" name="Freeform 670"/>
              <p:cNvSpPr>
                <a:spLocks/>
              </p:cNvSpPr>
              <p:nvPr userDrawn="1"/>
            </p:nvSpPr>
            <p:spPr bwMode="auto">
              <a:xfrm>
                <a:off x="7105650" y="4262438"/>
                <a:ext cx="447675" cy="449262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8"/>
                      <a:pt x="55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3" name="Freeform 671"/>
              <p:cNvSpPr>
                <a:spLocks/>
              </p:cNvSpPr>
              <p:nvPr userDrawn="1"/>
            </p:nvSpPr>
            <p:spPr bwMode="auto">
              <a:xfrm>
                <a:off x="7153275" y="4262438"/>
                <a:ext cx="400050" cy="401637"/>
              </a:xfrm>
              <a:custGeom>
                <a:avLst/>
                <a:gdLst>
                  <a:gd name="T0" fmla="*/ 0 w 109"/>
                  <a:gd name="T1" fmla="*/ 0 h 109"/>
                  <a:gd name="T2" fmla="*/ 109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0"/>
                    </a:moveTo>
                    <a:cubicBezTo>
                      <a:pt x="0" y="61"/>
                      <a:pt x="49" y="109"/>
                      <a:pt x="109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4" name="Freeform 672"/>
              <p:cNvSpPr>
                <a:spLocks/>
              </p:cNvSpPr>
              <p:nvPr userDrawn="1"/>
            </p:nvSpPr>
            <p:spPr bwMode="auto">
              <a:xfrm>
                <a:off x="7200900" y="4262438"/>
                <a:ext cx="352425" cy="357187"/>
              </a:xfrm>
              <a:custGeom>
                <a:avLst/>
                <a:gdLst>
                  <a:gd name="T0" fmla="*/ 0 w 96"/>
                  <a:gd name="T1" fmla="*/ 0 h 97"/>
                  <a:gd name="T2" fmla="*/ 96 w 96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0" y="0"/>
                    </a:moveTo>
                    <a:cubicBezTo>
                      <a:pt x="0" y="53"/>
                      <a:pt x="43" y="97"/>
                      <a:pt x="96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5" name="Freeform 673"/>
              <p:cNvSpPr>
                <a:spLocks/>
              </p:cNvSpPr>
              <p:nvPr userDrawn="1"/>
            </p:nvSpPr>
            <p:spPr bwMode="auto">
              <a:xfrm>
                <a:off x="7248525" y="4262438"/>
                <a:ext cx="304800" cy="309562"/>
              </a:xfrm>
              <a:custGeom>
                <a:avLst/>
                <a:gdLst>
                  <a:gd name="T0" fmla="*/ 0 w 83"/>
                  <a:gd name="T1" fmla="*/ 0 h 84"/>
                  <a:gd name="T2" fmla="*/ 83 w 83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0" y="0"/>
                    </a:moveTo>
                    <a:cubicBezTo>
                      <a:pt x="0" y="46"/>
                      <a:pt x="37" y="84"/>
                      <a:pt x="83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6" name="Freeform 674"/>
              <p:cNvSpPr>
                <a:spLocks/>
              </p:cNvSpPr>
              <p:nvPr userDrawn="1"/>
            </p:nvSpPr>
            <p:spPr bwMode="auto">
              <a:xfrm>
                <a:off x="7296150" y="4262438"/>
                <a:ext cx="257175" cy="261937"/>
              </a:xfrm>
              <a:custGeom>
                <a:avLst/>
                <a:gdLst>
                  <a:gd name="T0" fmla="*/ 0 w 70"/>
                  <a:gd name="T1" fmla="*/ 0 h 71"/>
                  <a:gd name="T2" fmla="*/ 70 w 70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0" y="0"/>
                    </a:moveTo>
                    <a:cubicBezTo>
                      <a:pt x="0" y="39"/>
                      <a:pt x="31" y="71"/>
                      <a:pt x="7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7" name="Freeform 675"/>
              <p:cNvSpPr>
                <a:spLocks/>
              </p:cNvSpPr>
              <p:nvPr userDrawn="1"/>
            </p:nvSpPr>
            <p:spPr bwMode="auto">
              <a:xfrm>
                <a:off x="7340600" y="4262438"/>
                <a:ext cx="212725" cy="214312"/>
              </a:xfrm>
              <a:custGeom>
                <a:avLst/>
                <a:gdLst>
                  <a:gd name="T0" fmla="*/ 0 w 58"/>
                  <a:gd name="T1" fmla="*/ 0 h 58"/>
                  <a:gd name="T2" fmla="*/ 58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0"/>
                    </a:moveTo>
                    <a:cubicBezTo>
                      <a:pt x="0" y="32"/>
                      <a:pt x="26" y="58"/>
                      <a:pt x="58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8" name="Freeform 676"/>
              <p:cNvSpPr>
                <a:spLocks/>
              </p:cNvSpPr>
              <p:nvPr userDrawn="1"/>
            </p:nvSpPr>
            <p:spPr bwMode="auto">
              <a:xfrm>
                <a:off x="7388225" y="42624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5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9" name="Freeform 677"/>
              <p:cNvSpPr>
                <a:spLocks/>
              </p:cNvSpPr>
              <p:nvPr userDrawn="1"/>
            </p:nvSpPr>
            <p:spPr bwMode="auto">
              <a:xfrm>
                <a:off x="7435850" y="42624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8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0" name="Freeform 678"/>
              <p:cNvSpPr>
                <a:spLocks/>
              </p:cNvSpPr>
              <p:nvPr userDrawn="1"/>
            </p:nvSpPr>
            <p:spPr bwMode="auto">
              <a:xfrm>
                <a:off x="7483475" y="4262438"/>
                <a:ext cx="69850" cy="69850"/>
              </a:xfrm>
              <a:custGeom>
                <a:avLst/>
                <a:gdLst>
                  <a:gd name="T0" fmla="*/ 0 w 19"/>
                  <a:gd name="T1" fmla="*/ 0 h 19"/>
                  <a:gd name="T2" fmla="*/ 19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0"/>
                    </a:moveTo>
                    <a:cubicBezTo>
                      <a:pt x="0" y="11"/>
                      <a:pt x="9" y="19"/>
                      <a:pt x="19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1" name="Freeform 679"/>
              <p:cNvSpPr>
                <a:spLocks/>
              </p:cNvSpPr>
              <p:nvPr userDrawn="1"/>
            </p:nvSpPr>
            <p:spPr bwMode="auto">
              <a:xfrm>
                <a:off x="7531100" y="4262438"/>
                <a:ext cx="22225" cy="25400"/>
              </a:xfrm>
              <a:custGeom>
                <a:avLst/>
                <a:gdLst>
                  <a:gd name="T0" fmla="*/ 0 w 6"/>
                  <a:gd name="T1" fmla="*/ 0 h 7"/>
                  <a:gd name="T2" fmla="*/ 6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cubicBezTo>
                      <a:pt x="0" y="4"/>
                      <a:pt x="3" y="7"/>
                      <a:pt x="6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2" name="Freeform 680"/>
              <p:cNvSpPr>
                <a:spLocks/>
              </p:cNvSpPr>
              <p:nvPr userDrawn="1"/>
            </p:nvSpPr>
            <p:spPr bwMode="auto">
              <a:xfrm>
                <a:off x="7553325" y="4262438"/>
                <a:ext cx="969963" cy="971550"/>
              </a:xfrm>
              <a:custGeom>
                <a:avLst/>
                <a:gdLst>
                  <a:gd name="T0" fmla="*/ 264 w 264"/>
                  <a:gd name="T1" fmla="*/ 0 h 264"/>
                  <a:gd name="T2" fmla="*/ 0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0"/>
                    </a:moveTo>
                    <a:cubicBezTo>
                      <a:pt x="118" y="0"/>
                      <a:pt x="0" y="118"/>
                      <a:pt x="0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3" name="Freeform 681"/>
              <p:cNvSpPr>
                <a:spLocks/>
              </p:cNvSpPr>
              <p:nvPr userDrawn="1"/>
            </p:nvSpPr>
            <p:spPr bwMode="auto">
              <a:xfrm>
                <a:off x="7600950" y="4310063"/>
                <a:ext cx="922338" cy="923925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2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4" name="Freeform 682"/>
              <p:cNvSpPr>
                <a:spLocks/>
              </p:cNvSpPr>
              <p:nvPr userDrawn="1"/>
            </p:nvSpPr>
            <p:spPr bwMode="auto">
              <a:xfrm>
                <a:off x="7648575" y="4357688"/>
                <a:ext cx="874713" cy="876300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6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5" name="Freeform 683"/>
              <p:cNvSpPr>
                <a:spLocks/>
              </p:cNvSpPr>
              <p:nvPr userDrawn="1"/>
            </p:nvSpPr>
            <p:spPr bwMode="auto">
              <a:xfrm>
                <a:off x="7696200" y="4405313"/>
                <a:ext cx="827088" cy="828675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0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6" name="Freeform 684"/>
              <p:cNvSpPr>
                <a:spLocks/>
              </p:cNvSpPr>
              <p:nvPr userDrawn="1"/>
            </p:nvSpPr>
            <p:spPr bwMode="auto">
              <a:xfrm>
                <a:off x="7745412" y="4454525"/>
                <a:ext cx="777875" cy="779462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7" name="Freeform 685"/>
              <p:cNvSpPr>
                <a:spLocks/>
              </p:cNvSpPr>
              <p:nvPr userDrawn="1"/>
            </p:nvSpPr>
            <p:spPr bwMode="auto">
              <a:xfrm>
                <a:off x="7793037" y="4497388"/>
                <a:ext cx="730250" cy="736600"/>
              </a:xfrm>
              <a:custGeom>
                <a:avLst/>
                <a:gdLst>
                  <a:gd name="T0" fmla="*/ 199 w 199"/>
                  <a:gd name="T1" fmla="*/ 0 h 200"/>
                  <a:gd name="T2" fmla="*/ 0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0"/>
                    </a:moveTo>
                    <a:cubicBezTo>
                      <a:pt x="89" y="0"/>
                      <a:pt x="0" y="90"/>
                      <a:pt x="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8" name="Freeform 686"/>
              <p:cNvSpPr>
                <a:spLocks/>
              </p:cNvSpPr>
              <p:nvPr userDrawn="1"/>
            </p:nvSpPr>
            <p:spPr bwMode="auto">
              <a:xfrm>
                <a:off x="7835900" y="4546600"/>
                <a:ext cx="687388" cy="687387"/>
              </a:xfrm>
              <a:custGeom>
                <a:avLst/>
                <a:gdLst>
                  <a:gd name="T0" fmla="*/ 187 w 187"/>
                  <a:gd name="T1" fmla="*/ 0 h 187"/>
                  <a:gd name="T2" fmla="*/ 0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0"/>
                    </a:moveTo>
                    <a:cubicBezTo>
                      <a:pt x="84" y="0"/>
                      <a:pt x="0" y="84"/>
                      <a:pt x="0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9" name="Freeform 687"/>
              <p:cNvSpPr>
                <a:spLocks/>
              </p:cNvSpPr>
              <p:nvPr userDrawn="1"/>
            </p:nvSpPr>
            <p:spPr bwMode="auto">
              <a:xfrm>
                <a:off x="7883525" y="4594225"/>
                <a:ext cx="639763" cy="639762"/>
              </a:xfrm>
              <a:custGeom>
                <a:avLst/>
                <a:gdLst>
                  <a:gd name="T0" fmla="*/ 174 w 174"/>
                  <a:gd name="T1" fmla="*/ 0 h 174"/>
                  <a:gd name="T2" fmla="*/ 0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0" name="Freeform 688"/>
              <p:cNvSpPr>
                <a:spLocks/>
              </p:cNvSpPr>
              <p:nvPr userDrawn="1"/>
            </p:nvSpPr>
            <p:spPr bwMode="auto">
              <a:xfrm>
                <a:off x="7932737" y="4641850"/>
                <a:ext cx="590550" cy="592137"/>
              </a:xfrm>
              <a:custGeom>
                <a:avLst/>
                <a:gdLst>
                  <a:gd name="T0" fmla="*/ 161 w 161"/>
                  <a:gd name="T1" fmla="*/ 0 h 161"/>
                  <a:gd name="T2" fmla="*/ 0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0"/>
                    </a:moveTo>
                    <a:cubicBezTo>
                      <a:pt x="72" y="0"/>
                      <a:pt x="0" y="72"/>
                      <a:pt x="0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1" name="Freeform 689"/>
              <p:cNvSpPr>
                <a:spLocks/>
              </p:cNvSpPr>
              <p:nvPr userDrawn="1"/>
            </p:nvSpPr>
            <p:spPr bwMode="auto">
              <a:xfrm>
                <a:off x="7980362" y="4689475"/>
                <a:ext cx="542925" cy="544512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6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2" name="Freeform 690"/>
              <p:cNvSpPr>
                <a:spLocks/>
              </p:cNvSpPr>
              <p:nvPr userDrawn="1"/>
            </p:nvSpPr>
            <p:spPr bwMode="auto">
              <a:xfrm>
                <a:off x="8027987" y="4737100"/>
                <a:ext cx="495300" cy="496887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0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3" name="Freeform 691"/>
              <p:cNvSpPr>
                <a:spLocks/>
              </p:cNvSpPr>
              <p:nvPr userDrawn="1"/>
            </p:nvSpPr>
            <p:spPr bwMode="auto">
              <a:xfrm>
                <a:off x="8075612" y="4784725"/>
                <a:ext cx="447675" cy="449262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4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4" name="Freeform 692"/>
              <p:cNvSpPr>
                <a:spLocks/>
              </p:cNvSpPr>
              <p:nvPr userDrawn="1"/>
            </p:nvSpPr>
            <p:spPr bwMode="auto">
              <a:xfrm>
                <a:off x="8123237" y="4829175"/>
                <a:ext cx="400050" cy="404812"/>
              </a:xfrm>
              <a:custGeom>
                <a:avLst/>
                <a:gdLst>
                  <a:gd name="T0" fmla="*/ 109 w 109"/>
                  <a:gd name="T1" fmla="*/ 0 h 110"/>
                  <a:gd name="T2" fmla="*/ 0 w 109"/>
                  <a:gd name="T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0"/>
                    </a:moveTo>
                    <a:cubicBezTo>
                      <a:pt x="49" y="0"/>
                      <a:pt x="0" y="49"/>
                      <a:pt x="0" y="11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5" name="Freeform 693"/>
              <p:cNvSpPr>
                <a:spLocks/>
              </p:cNvSpPr>
              <p:nvPr userDrawn="1"/>
            </p:nvSpPr>
            <p:spPr bwMode="auto">
              <a:xfrm>
                <a:off x="8170862" y="4876800"/>
                <a:ext cx="352425" cy="357187"/>
              </a:xfrm>
              <a:custGeom>
                <a:avLst/>
                <a:gdLst>
                  <a:gd name="T0" fmla="*/ 96 w 96"/>
                  <a:gd name="T1" fmla="*/ 0 h 97"/>
                  <a:gd name="T2" fmla="*/ 0 w 96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96" y="0"/>
                    </a:moveTo>
                    <a:cubicBezTo>
                      <a:pt x="43" y="0"/>
                      <a:pt x="0" y="44"/>
                      <a:pt x="0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6" name="Freeform 694"/>
              <p:cNvSpPr>
                <a:spLocks/>
              </p:cNvSpPr>
              <p:nvPr userDrawn="1"/>
            </p:nvSpPr>
            <p:spPr bwMode="auto">
              <a:xfrm>
                <a:off x="8215312" y="4924425"/>
                <a:ext cx="307975" cy="309562"/>
              </a:xfrm>
              <a:custGeom>
                <a:avLst/>
                <a:gdLst>
                  <a:gd name="T0" fmla="*/ 84 w 84"/>
                  <a:gd name="T1" fmla="*/ 0 h 84"/>
                  <a:gd name="T2" fmla="*/ 0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cubicBezTo>
                      <a:pt x="38" y="0"/>
                      <a:pt x="0" y="38"/>
                      <a:pt x="0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7" name="Freeform 695"/>
              <p:cNvSpPr>
                <a:spLocks/>
              </p:cNvSpPr>
              <p:nvPr userDrawn="1"/>
            </p:nvSpPr>
            <p:spPr bwMode="auto">
              <a:xfrm>
                <a:off x="8262937" y="4972050"/>
                <a:ext cx="260350" cy="261937"/>
              </a:xfrm>
              <a:custGeom>
                <a:avLst/>
                <a:gdLst>
                  <a:gd name="T0" fmla="*/ 71 w 71"/>
                  <a:gd name="T1" fmla="*/ 0 h 71"/>
                  <a:gd name="T2" fmla="*/ 0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32" y="0"/>
                      <a:pt x="0" y="32"/>
                      <a:pt x="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8" name="Freeform 696"/>
              <p:cNvSpPr>
                <a:spLocks/>
              </p:cNvSpPr>
              <p:nvPr userDrawn="1"/>
            </p:nvSpPr>
            <p:spPr bwMode="auto">
              <a:xfrm>
                <a:off x="8310562" y="5021263"/>
                <a:ext cx="212725" cy="212725"/>
              </a:xfrm>
              <a:custGeom>
                <a:avLst/>
                <a:gdLst>
                  <a:gd name="T0" fmla="*/ 58 w 58"/>
                  <a:gd name="T1" fmla="*/ 0 h 58"/>
                  <a:gd name="T2" fmla="*/ 0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0"/>
                    </a:moveTo>
                    <a:cubicBezTo>
                      <a:pt x="26" y="0"/>
                      <a:pt x="0" y="26"/>
                      <a:pt x="0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9" name="Freeform 697"/>
              <p:cNvSpPr>
                <a:spLocks/>
              </p:cNvSpPr>
              <p:nvPr userDrawn="1"/>
            </p:nvSpPr>
            <p:spPr bwMode="auto">
              <a:xfrm>
                <a:off x="8358187" y="5068888"/>
                <a:ext cx="165100" cy="165100"/>
              </a:xfrm>
              <a:custGeom>
                <a:avLst/>
                <a:gdLst>
                  <a:gd name="T0" fmla="*/ 45 w 45"/>
                  <a:gd name="T1" fmla="*/ 0 h 45"/>
                  <a:gd name="T2" fmla="*/ 0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0" name="Freeform 698"/>
              <p:cNvSpPr>
                <a:spLocks/>
              </p:cNvSpPr>
              <p:nvPr userDrawn="1"/>
            </p:nvSpPr>
            <p:spPr bwMode="auto">
              <a:xfrm>
                <a:off x="8405812" y="5116513"/>
                <a:ext cx="117475" cy="117475"/>
              </a:xfrm>
              <a:custGeom>
                <a:avLst/>
                <a:gdLst>
                  <a:gd name="T0" fmla="*/ 32 w 32"/>
                  <a:gd name="T1" fmla="*/ 0 h 32"/>
                  <a:gd name="T2" fmla="*/ 0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0"/>
                    </a:moveTo>
                    <a:cubicBezTo>
                      <a:pt x="14" y="0"/>
                      <a:pt x="0" y="14"/>
                      <a:pt x="0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1" name="Freeform 699"/>
              <p:cNvSpPr>
                <a:spLocks/>
              </p:cNvSpPr>
              <p:nvPr userDrawn="1"/>
            </p:nvSpPr>
            <p:spPr bwMode="auto">
              <a:xfrm>
                <a:off x="8453437" y="5164138"/>
                <a:ext cx="69850" cy="69850"/>
              </a:xfrm>
              <a:custGeom>
                <a:avLst/>
                <a:gdLst>
                  <a:gd name="T0" fmla="*/ 19 w 19"/>
                  <a:gd name="T1" fmla="*/ 0 h 19"/>
                  <a:gd name="T2" fmla="*/ 0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0"/>
                    </a:moveTo>
                    <a:cubicBezTo>
                      <a:pt x="8" y="0"/>
                      <a:pt x="0" y="8"/>
                      <a:pt x="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2" name="Freeform 700"/>
              <p:cNvSpPr>
                <a:spLocks/>
              </p:cNvSpPr>
              <p:nvPr userDrawn="1"/>
            </p:nvSpPr>
            <p:spPr bwMode="auto">
              <a:xfrm>
                <a:off x="8501062" y="5208588"/>
                <a:ext cx="22225" cy="25400"/>
              </a:xfrm>
              <a:custGeom>
                <a:avLst/>
                <a:gdLst>
                  <a:gd name="T0" fmla="*/ 6 w 6"/>
                  <a:gd name="T1" fmla="*/ 0 h 7"/>
                  <a:gd name="T2" fmla="*/ 0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0"/>
                    </a:moveTo>
                    <a:cubicBezTo>
                      <a:pt x="2" y="0"/>
                      <a:pt x="0" y="3"/>
                      <a:pt x="0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3" name="Freeform 701"/>
              <p:cNvSpPr>
                <a:spLocks/>
              </p:cNvSpPr>
              <p:nvPr userDrawn="1"/>
            </p:nvSpPr>
            <p:spPr bwMode="auto">
              <a:xfrm>
                <a:off x="5616575" y="32908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4" name="Freeform 702"/>
              <p:cNvSpPr>
                <a:spLocks/>
              </p:cNvSpPr>
              <p:nvPr userDrawn="1"/>
            </p:nvSpPr>
            <p:spPr bwMode="auto">
              <a:xfrm>
                <a:off x="5616575" y="33385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5" name="Freeform 703"/>
              <p:cNvSpPr>
                <a:spLocks/>
              </p:cNvSpPr>
              <p:nvPr userDrawn="1"/>
            </p:nvSpPr>
            <p:spPr bwMode="auto">
              <a:xfrm>
                <a:off x="5616575" y="3387725"/>
                <a:ext cx="874713" cy="874712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7"/>
                      <a:pt x="13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6" name="Freeform 704"/>
              <p:cNvSpPr>
                <a:spLocks/>
              </p:cNvSpPr>
              <p:nvPr userDrawn="1"/>
            </p:nvSpPr>
            <p:spPr bwMode="auto">
              <a:xfrm>
                <a:off x="5616575" y="3435350"/>
                <a:ext cx="827088" cy="827087"/>
              </a:xfrm>
              <a:custGeom>
                <a:avLst/>
                <a:gdLst>
                  <a:gd name="T0" fmla="*/ 225 w 225"/>
                  <a:gd name="T1" fmla="*/ 225 h 225"/>
                  <a:gd name="T2" fmla="*/ 0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225"/>
                    </a:moveTo>
                    <a:cubicBezTo>
                      <a:pt x="225" y="101"/>
                      <a:pt x="12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7" name="Freeform 705"/>
              <p:cNvSpPr>
                <a:spLocks/>
              </p:cNvSpPr>
              <p:nvPr userDrawn="1"/>
            </p:nvSpPr>
            <p:spPr bwMode="auto">
              <a:xfrm>
                <a:off x="5616575" y="3482975"/>
                <a:ext cx="779463" cy="779462"/>
              </a:xfrm>
              <a:custGeom>
                <a:avLst/>
                <a:gdLst>
                  <a:gd name="T0" fmla="*/ 212 w 212"/>
                  <a:gd name="T1" fmla="*/ 212 h 212"/>
                  <a:gd name="T2" fmla="*/ 0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212"/>
                    </a:moveTo>
                    <a:cubicBezTo>
                      <a:pt x="212" y="95"/>
                      <a:pt x="11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8" name="Freeform 706"/>
              <p:cNvSpPr>
                <a:spLocks/>
              </p:cNvSpPr>
              <p:nvPr userDrawn="1"/>
            </p:nvSpPr>
            <p:spPr bwMode="auto">
              <a:xfrm>
                <a:off x="5616575" y="3530600"/>
                <a:ext cx="731838" cy="731837"/>
              </a:xfrm>
              <a:custGeom>
                <a:avLst/>
                <a:gdLst>
                  <a:gd name="T0" fmla="*/ 199 w 199"/>
                  <a:gd name="T1" fmla="*/ 199 h 199"/>
                  <a:gd name="T2" fmla="*/ 0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199"/>
                    </a:moveTo>
                    <a:cubicBezTo>
                      <a:pt x="199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9" name="Freeform 707"/>
              <p:cNvSpPr>
                <a:spLocks/>
              </p:cNvSpPr>
              <p:nvPr userDrawn="1"/>
            </p:nvSpPr>
            <p:spPr bwMode="auto">
              <a:xfrm>
                <a:off x="5616575" y="3578225"/>
                <a:ext cx="684213" cy="684212"/>
              </a:xfrm>
              <a:custGeom>
                <a:avLst/>
                <a:gdLst>
                  <a:gd name="T0" fmla="*/ 186 w 186"/>
                  <a:gd name="T1" fmla="*/ 186 h 186"/>
                  <a:gd name="T2" fmla="*/ 0 w 186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186" y="186"/>
                    </a:moveTo>
                    <a:cubicBezTo>
                      <a:pt x="186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0" name="Freeform 708"/>
              <p:cNvSpPr>
                <a:spLocks/>
              </p:cNvSpPr>
              <p:nvPr userDrawn="1"/>
            </p:nvSpPr>
            <p:spPr bwMode="auto">
              <a:xfrm>
                <a:off x="5616575" y="3622675"/>
                <a:ext cx="636588" cy="639762"/>
              </a:xfrm>
              <a:custGeom>
                <a:avLst/>
                <a:gdLst>
                  <a:gd name="T0" fmla="*/ 173 w 173"/>
                  <a:gd name="T1" fmla="*/ 174 h 174"/>
                  <a:gd name="T2" fmla="*/ 0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173" y="174"/>
                    </a:moveTo>
                    <a:cubicBezTo>
                      <a:pt x="173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1" name="Freeform 709"/>
              <p:cNvSpPr>
                <a:spLocks/>
              </p:cNvSpPr>
              <p:nvPr userDrawn="1"/>
            </p:nvSpPr>
            <p:spPr bwMode="auto">
              <a:xfrm>
                <a:off x="5616575" y="3670300"/>
                <a:ext cx="592138" cy="592137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2" name="Freeform 710"/>
              <p:cNvSpPr>
                <a:spLocks/>
              </p:cNvSpPr>
              <p:nvPr userDrawn="1"/>
            </p:nvSpPr>
            <p:spPr bwMode="auto">
              <a:xfrm>
                <a:off x="5616575" y="3717925"/>
                <a:ext cx="544513" cy="544512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3" name="Freeform 711"/>
              <p:cNvSpPr>
                <a:spLocks/>
              </p:cNvSpPr>
              <p:nvPr userDrawn="1"/>
            </p:nvSpPr>
            <p:spPr bwMode="auto">
              <a:xfrm>
                <a:off x="5616575" y="3765550"/>
                <a:ext cx="496888" cy="496887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4" name="Freeform 712"/>
              <p:cNvSpPr>
                <a:spLocks/>
              </p:cNvSpPr>
              <p:nvPr userDrawn="1"/>
            </p:nvSpPr>
            <p:spPr bwMode="auto">
              <a:xfrm>
                <a:off x="5616575" y="3813175"/>
                <a:ext cx="449263" cy="449262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cubicBezTo>
                      <a:pt x="122" y="55"/>
                      <a:pt x="6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5" name="Freeform 713"/>
              <p:cNvSpPr>
                <a:spLocks/>
              </p:cNvSpPr>
              <p:nvPr userDrawn="1"/>
            </p:nvSpPr>
            <p:spPr bwMode="auto">
              <a:xfrm>
                <a:off x="5616575" y="3862388"/>
                <a:ext cx="400050" cy="400050"/>
              </a:xfrm>
              <a:custGeom>
                <a:avLst/>
                <a:gdLst>
                  <a:gd name="T0" fmla="*/ 109 w 109"/>
                  <a:gd name="T1" fmla="*/ 109 h 109"/>
                  <a:gd name="T2" fmla="*/ 0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109"/>
                    </a:moveTo>
                    <a:cubicBezTo>
                      <a:pt x="109" y="49"/>
                      <a:pt x="6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6" name="Freeform 714"/>
              <p:cNvSpPr>
                <a:spLocks/>
              </p:cNvSpPr>
              <p:nvPr userDrawn="1"/>
            </p:nvSpPr>
            <p:spPr bwMode="auto">
              <a:xfrm>
                <a:off x="5616575" y="3910013"/>
                <a:ext cx="352425" cy="352425"/>
              </a:xfrm>
              <a:custGeom>
                <a:avLst/>
                <a:gdLst>
                  <a:gd name="T0" fmla="*/ 96 w 96"/>
                  <a:gd name="T1" fmla="*/ 96 h 96"/>
                  <a:gd name="T2" fmla="*/ 0 w 96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96" y="96"/>
                    </a:moveTo>
                    <a:cubicBezTo>
                      <a:pt x="96" y="43"/>
                      <a:pt x="5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7" name="Freeform 715"/>
              <p:cNvSpPr>
                <a:spLocks/>
              </p:cNvSpPr>
              <p:nvPr userDrawn="1"/>
            </p:nvSpPr>
            <p:spPr bwMode="auto">
              <a:xfrm>
                <a:off x="5616575" y="3952875"/>
                <a:ext cx="304800" cy="309562"/>
              </a:xfrm>
              <a:custGeom>
                <a:avLst/>
                <a:gdLst>
                  <a:gd name="T0" fmla="*/ 83 w 83"/>
                  <a:gd name="T1" fmla="*/ 84 h 84"/>
                  <a:gd name="T2" fmla="*/ 0 w 83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83" y="84"/>
                    </a:moveTo>
                    <a:cubicBezTo>
                      <a:pt x="83" y="38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8" name="Freeform 716"/>
              <p:cNvSpPr>
                <a:spLocks/>
              </p:cNvSpPr>
              <p:nvPr userDrawn="1"/>
            </p:nvSpPr>
            <p:spPr bwMode="auto">
              <a:xfrm>
                <a:off x="5616575" y="4002088"/>
                <a:ext cx="260350" cy="260350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2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9" name="Freeform 717"/>
              <p:cNvSpPr>
                <a:spLocks/>
              </p:cNvSpPr>
              <p:nvPr userDrawn="1"/>
            </p:nvSpPr>
            <p:spPr bwMode="auto">
              <a:xfrm>
                <a:off x="5616575" y="4049713"/>
                <a:ext cx="212725" cy="212725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0" name="Freeform 718"/>
              <p:cNvSpPr>
                <a:spLocks/>
              </p:cNvSpPr>
              <p:nvPr userDrawn="1"/>
            </p:nvSpPr>
            <p:spPr bwMode="auto">
              <a:xfrm>
                <a:off x="5616575" y="4097338"/>
                <a:ext cx="165100" cy="165100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1" name="Freeform 719"/>
              <p:cNvSpPr>
                <a:spLocks/>
              </p:cNvSpPr>
              <p:nvPr userDrawn="1"/>
            </p:nvSpPr>
            <p:spPr bwMode="auto">
              <a:xfrm>
                <a:off x="5616575" y="4144963"/>
                <a:ext cx="117475" cy="117475"/>
              </a:xfrm>
              <a:custGeom>
                <a:avLst/>
                <a:gdLst>
                  <a:gd name="T0" fmla="*/ 32 w 32"/>
                  <a:gd name="T1" fmla="*/ 32 h 32"/>
                  <a:gd name="T2" fmla="*/ 0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32"/>
                    </a:moveTo>
                    <a:cubicBezTo>
                      <a:pt x="32" y="14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2" name="Freeform 720"/>
              <p:cNvSpPr>
                <a:spLocks/>
              </p:cNvSpPr>
              <p:nvPr userDrawn="1"/>
            </p:nvSpPr>
            <p:spPr bwMode="auto">
              <a:xfrm>
                <a:off x="5616575" y="4192588"/>
                <a:ext cx="69850" cy="69850"/>
              </a:xfrm>
              <a:custGeom>
                <a:avLst/>
                <a:gdLst>
                  <a:gd name="T0" fmla="*/ 19 w 19"/>
                  <a:gd name="T1" fmla="*/ 19 h 19"/>
                  <a:gd name="T2" fmla="*/ 0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19"/>
                    </a:moveTo>
                    <a:cubicBezTo>
                      <a:pt x="19" y="8"/>
                      <a:pt x="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3" name="Freeform 721"/>
              <p:cNvSpPr>
                <a:spLocks/>
              </p:cNvSpPr>
              <p:nvPr userDrawn="1"/>
            </p:nvSpPr>
            <p:spPr bwMode="auto">
              <a:xfrm>
                <a:off x="5616575" y="4240213"/>
                <a:ext cx="22225" cy="22225"/>
              </a:xfrm>
              <a:custGeom>
                <a:avLst/>
                <a:gdLst>
                  <a:gd name="T0" fmla="*/ 6 w 6"/>
                  <a:gd name="T1" fmla="*/ 6 h 6"/>
                  <a:gd name="T2" fmla="*/ 0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cubicBezTo>
                      <a:pt x="6" y="3"/>
                      <a:pt x="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4" name="Freeform 722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5" name="Freeform 723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6" name="Freeform 724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874713" cy="876300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2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7" name="Freeform 725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827088" cy="828675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5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8" name="Freeform 726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779463" cy="784225"/>
              </a:xfrm>
              <a:custGeom>
                <a:avLst/>
                <a:gdLst>
                  <a:gd name="T0" fmla="*/ 0 w 212"/>
                  <a:gd name="T1" fmla="*/ 213 h 213"/>
                  <a:gd name="T2" fmla="*/ 212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0" y="213"/>
                    </a:moveTo>
                    <a:cubicBezTo>
                      <a:pt x="117" y="213"/>
                      <a:pt x="212" y="118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9" name="Freeform 727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731838" cy="736600"/>
              </a:xfrm>
              <a:custGeom>
                <a:avLst/>
                <a:gdLst>
                  <a:gd name="T0" fmla="*/ 0 w 199"/>
                  <a:gd name="T1" fmla="*/ 200 h 200"/>
                  <a:gd name="T2" fmla="*/ 199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200"/>
                    </a:moveTo>
                    <a:cubicBezTo>
                      <a:pt x="110" y="200"/>
                      <a:pt x="199" y="111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0" name="Freeform 728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687388" cy="688975"/>
              </a:xfrm>
              <a:custGeom>
                <a:avLst/>
                <a:gdLst>
                  <a:gd name="T0" fmla="*/ 0 w 187"/>
                  <a:gd name="T1" fmla="*/ 187 h 187"/>
                  <a:gd name="T2" fmla="*/ 187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187"/>
                    </a:moveTo>
                    <a:cubicBezTo>
                      <a:pt x="103" y="187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1" name="Freeform 729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639763" cy="641350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2" name="Freeform 730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592138" cy="592137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3" name="Freeform 731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544513" cy="544512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4" name="Freeform 732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495300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5" name="Freeform 733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447675" cy="452437"/>
              </a:xfrm>
              <a:custGeom>
                <a:avLst/>
                <a:gdLst>
                  <a:gd name="T0" fmla="*/ 0 w 122"/>
                  <a:gd name="T1" fmla="*/ 123 h 123"/>
                  <a:gd name="T2" fmla="*/ 122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0" y="123"/>
                    </a:moveTo>
                    <a:cubicBezTo>
                      <a:pt x="68" y="123"/>
                      <a:pt x="122" y="68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6" name="Freeform 734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400050" cy="404812"/>
              </a:xfrm>
              <a:custGeom>
                <a:avLst/>
                <a:gdLst>
                  <a:gd name="T0" fmla="*/ 0 w 109"/>
                  <a:gd name="T1" fmla="*/ 110 h 110"/>
                  <a:gd name="T2" fmla="*/ 109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0" y="110"/>
                    </a:moveTo>
                    <a:cubicBezTo>
                      <a:pt x="60" y="110"/>
                      <a:pt x="109" y="61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7" name="Freeform 735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355600" cy="357187"/>
              </a:xfrm>
              <a:custGeom>
                <a:avLst/>
                <a:gdLst>
                  <a:gd name="T0" fmla="*/ 0 w 97"/>
                  <a:gd name="T1" fmla="*/ 97 h 97"/>
                  <a:gd name="T2" fmla="*/ 97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97"/>
                    </a:moveTo>
                    <a:cubicBezTo>
                      <a:pt x="53" y="97"/>
                      <a:pt x="97" y="54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8" name="Freeform 736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307975" cy="309562"/>
              </a:xfrm>
              <a:custGeom>
                <a:avLst/>
                <a:gdLst>
                  <a:gd name="T0" fmla="*/ 0 w 84"/>
                  <a:gd name="T1" fmla="*/ 84 h 84"/>
                  <a:gd name="T2" fmla="*/ 84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84"/>
                    </a:moveTo>
                    <a:cubicBezTo>
                      <a:pt x="46" y="84"/>
                      <a:pt x="84" y="47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9" name="Freeform 737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260350" cy="261937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0" name="Freeform 738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212725" cy="214312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1" name="Freeform 739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165100" cy="166687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2" name="Freeform 740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3" name="Freeform 741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69850" cy="74612"/>
              </a:xfrm>
              <a:custGeom>
                <a:avLst/>
                <a:gdLst>
                  <a:gd name="T0" fmla="*/ 0 w 19"/>
                  <a:gd name="T1" fmla="*/ 20 h 20"/>
                  <a:gd name="T2" fmla="*/ 19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0" y="20"/>
                    </a:moveTo>
                    <a:cubicBezTo>
                      <a:pt x="11" y="20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4" name="Freeform 742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22225" cy="26987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4" y="7"/>
                      <a:pt x="6" y="4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5" name="Freeform 743"/>
              <p:cNvSpPr>
                <a:spLocks/>
              </p:cNvSpPr>
              <p:nvPr userDrawn="1"/>
            </p:nvSpPr>
            <p:spPr bwMode="auto">
              <a:xfrm>
                <a:off x="4646612" y="4262438"/>
                <a:ext cx="969963" cy="971550"/>
              </a:xfrm>
              <a:custGeom>
                <a:avLst/>
                <a:gdLst>
                  <a:gd name="T0" fmla="*/ 0 w 264"/>
                  <a:gd name="T1" fmla="*/ 0 h 264"/>
                  <a:gd name="T2" fmla="*/ 264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0"/>
                    </a:moveTo>
                    <a:cubicBezTo>
                      <a:pt x="0" y="146"/>
                      <a:pt x="118" y="264"/>
                      <a:pt x="264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6" name="Freeform 744"/>
              <p:cNvSpPr>
                <a:spLocks/>
              </p:cNvSpPr>
              <p:nvPr userDrawn="1"/>
            </p:nvSpPr>
            <p:spPr bwMode="auto">
              <a:xfrm>
                <a:off x="4694237" y="4262438"/>
                <a:ext cx="922338" cy="923925"/>
              </a:xfrm>
              <a:custGeom>
                <a:avLst/>
                <a:gdLst>
                  <a:gd name="T0" fmla="*/ 0 w 251"/>
                  <a:gd name="T1" fmla="*/ 0 h 251"/>
                  <a:gd name="T2" fmla="*/ 251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0"/>
                    </a:moveTo>
                    <a:cubicBezTo>
                      <a:pt x="0" y="139"/>
                      <a:pt x="112" y="251"/>
                      <a:pt x="251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7" name="Freeform 745"/>
              <p:cNvSpPr>
                <a:spLocks/>
              </p:cNvSpPr>
              <p:nvPr userDrawn="1"/>
            </p:nvSpPr>
            <p:spPr bwMode="auto">
              <a:xfrm>
                <a:off x="4741862" y="4262438"/>
                <a:ext cx="874713" cy="876300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2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8" name="Freeform 746"/>
              <p:cNvSpPr>
                <a:spLocks/>
              </p:cNvSpPr>
              <p:nvPr userDrawn="1"/>
            </p:nvSpPr>
            <p:spPr bwMode="auto">
              <a:xfrm>
                <a:off x="4789487" y="4262438"/>
                <a:ext cx="827088" cy="828675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5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9" name="Freeform 747"/>
              <p:cNvSpPr>
                <a:spLocks/>
              </p:cNvSpPr>
              <p:nvPr userDrawn="1"/>
            </p:nvSpPr>
            <p:spPr bwMode="auto">
              <a:xfrm>
                <a:off x="4833937" y="4262438"/>
                <a:ext cx="782638" cy="779462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0" name="Freeform 748"/>
              <p:cNvSpPr>
                <a:spLocks/>
              </p:cNvSpPr>
              <p:nvPr userDrawn="1"/>
            </p:nvSpPr>
            <p:spPr bwMode="auto">
              <a:xfrm>
                <a:off x="4881562" y="4262438"/>
                <a:ext cx="735013" cy="736600"/>
              </a:xfrm>
              <a:custGeom>
                <a:avLst/>
                <a:gdLst>
                  <a:gd name="T0" fmla="*/ 0 w 200"/>
                  <a:gd name="T1" fmla="*/ 0 h 200"/>
                  <a:gd name="T2" fmla="*/ 200 w 200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0" y="0"/>
                    </a:moveTo>
                    <a:cubicBezTo>
                      <a:pt x="0" y="110"/>
                      <a:pt x="90" y="200"/>
                      <a:pt x="20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1" name="Freeform 749"/>
              <p:cNvSpPr>
                <a:spLocks/>
              </p:cNvSpPr>
              <p:nvPr userDrawn="1"/>
            </p:nvSpPr>
            <p:spPr bwMode="auto">
              <a:xfrm>
                <a:off x="4929187" y="4262438"/>
                <a:ext cx="687388" cy="687387"/>
              </a:xfrm>
              <a:custGeom>
                <a:avLst/>
                <a:gdLst>
                  <a:gd name="T0" fmla="*/ 0 w 187"/>
                  <a:gd name="T1" fmla="*/ 0 h 187"/>
                  <a:gd name="T2" fmla="*/ 187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0"/>
                    </a:moveTo>
                    <a:cubicBezTo>
                      <a:pt x="0" y="103"/>
                      <a:pt x="84" y="187"/>
                      <a:pt x="187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2" name="Freeform 750"/>
              <p:cNvSpPr>
                <a:spLocks/>
              </p:cNvSpPr>
              <p:nvPr userDrawn="1"/>
            </p:nvSpPr>
            <p:spPr bwMode="auto">
              <a:xfrm>
                <a:off x="4976812" y="4262438"/>
                <a:ext cx="639763" cy="639762"/>
              </a:xfrm>
              <a:custGeom>
                <a:avLst/>
                <a:gdLst>
                  <a:gd name="T0" fmla="*/ 0 w 174"/>
                  <a:gd name="T1" fmla="*/ 0 h 174"/>
                  <a:gd name="T2" fmla="*/ 174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0"/>
                    </a:moveTo>
                    <a:cubicBezTo>
                      <a:pt x="0" y="96"/>
                      <a:pt x="78" y="174"/>
                      <a:pt x="174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3" name="Freeform 751"/>
              <p:cNvSpPr>
                <a:spLocks/>
              </p:cNvSpPr>
              <p:nvPr userDrawn="1"/>
            </p:nvSpPr>
            <p:spPr bwMode="auto">
              <a:xfrm>
                <a:off x="5024437" y="4262438"/>
                <a:ext cx="592138" cy="592137"/>
              </a:xfrm>
              <a:custGeom>
                <a:avLst/>
                <a:gdLst>
                  <a:gd name="T0" fmla="*/ 0 w 161"/>
                  <a:gd name="T1" fmla="*/ 0 h 161"/>
                  <a:gd name="T2" fmla="*/ 161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0"/>
                    </a:moveTo>
                    <a:cubicBezTo>
                      <a:pt x="0" y="89"/>
                      <a:pt x="72" y="161"/>
                      <a:pt x="161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4" name="Freeform 752"/>
              <p:cNvSpPr>
                <a:spLocks/>
              </p:cNvSpPr>
              <p:nvPr userDrawn="1"/>
            </p:nvSpPr>
            <p:spPr bwMode="auto">
              <a:xfrm>
                <a:off x="5072062" y="4262438"/>
                <a:ext cx="544513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2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5" name="Freeform 753"/>
              <p:cNvSpPr>
                <a:spLocks/>
              </p:cNvSpPr>
              <p:nvPr userDrawn="1"/>
            </p:nvSpPr>
            <p:spPr bwMode="auto">
              <a:xfrm>
                <a:off x="5121275" y="42624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5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6" name="Freeform 754"/>
              <p:cNvSpPr>
                <a:spLocks/>
              </p:cNvSpPr>
              <p:nvPr userDrawn="1"/>
            </p:nvSpPr>
            <p:spPr bwMode="auto">
              <a:xfrm>
                <a:off x="5168900" y="4262438"/>
                <a:ext cx="447675" cy="449262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8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7" name="Freeform 755"/>
              <p:cNvSpPr>
                <a:spLocks/>
              </p:cNvSpPr>
              <p:nvPr userDrawn="1"/>
            </p:nvSpPr>
            <p:spPr bwMode="auto">
              <a:xfrm>
                <a:off x="5211762" y="4262438"/>
                <a:ext cx="404813" cy="401637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1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8" name="Freeform 756"/>
              <p:cNvSpPr>
                <a:spLocks/>
              </p:cNvSpPr>
              <p:nvPr userDrawn="1"/>
            </p:nvSpPr>
            <p:spPr bwMode="auto">
              <a:xfrm>
                <a:off x="5260975" y="4262438"/>
                <a:ext cx="355600" cy="357187"/>
              </a:xfrm>
              <a:custGeom>
                <a:avLst/>
                <a:gdLst>
                  <a:gd name="T0" fmla="*/ 0 w 97"/>
                  <a:gd name="T1" fmla="*/ 0 h 97"/>
                  <a:gd name="T2" fmla="*/ 97 w 97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0"/>
                    </a:moveTo>
                    <a:cubicBezTo>
                      <a:pt x="0" y="53"/>
                      <a:pt x="43" y="97"/>
                      <a:pt x="97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9" name="Freeform 757"/>
              <p:cNvSpPr>
                <a:spLocks/>
              </p:cNvSpPr>
              <p:nvPr userDrawn="1"/>
            </p:nvSpPr>
            <p:spPr bwMode="auto">
              <a:xfrm>
                <a:off x="5308600" y="4262438"/>
                <a:ext cx="307975" cy="309562"/>
              </a:xfrm>
              <a:custGeom>
                <a:avLst/>
                <a:gdLst>
                  <a:gd name="T0" fmla="*/ 0 w 84"/>
                  <a:gd name="T1" fmla="*/ 0 h 84"/>
                  <a:gd name="T2" fmla="*/ 84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0"/>
                    </a:moveTo>
                    <a:cubicBezTo>
                      <a:pt x="0" y="46"/>
                      <a:pt x="38" y="84"/>
                      <a:pt x="84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0" name="Freeform 758"/>
              <p:cNvSpPr>
                <a:spLocks/>
              </p:cNvSpPr>
              <p:nvPr userDrawn="1"/>
            </p:nvSpPr>
            <p:spPr bwMode="auto">
              <a:xfrm>
                <a:off x="5356225" y="4262438"/>
                <a:ext cx="260350" cy="261937"/>
              </a:xfrm>
              <a:custGeom>
                <a:avLst/>
                <a:gdLst>
                  <a:gd name="T0" fmla="*/ 0 w 71"/>
                  <a:gd name="T1" fmla="*/ 0 h 71"/>
                  <a:gd name="T2" fmla="*/ 71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0" y="39"/>
                      <a:pt x="32" y="71"/>
                      <a:pt x="71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1" name="Freeform 759"/>
              <p:cNvSpPr>
                <a:spLocks/>
              </p:cNvSpPr>
              <p:nvPr userDrawn="1"/>
            </p:nvSpPr>
            <p:spPr bwMode="auto">
              <a:xfrm>
                <a:off x="5403850" y="4262438"/>
                <a:ext cx="212725" cy="214312"/>
              </a:xfrm>
              <a:custGeom>
                <a:avLst/>
                <a:gdLst>
                  <a:gd name="T0" fmla="*/ 0 w 58"/>
                  <a:gd name="T1" fmla="*/ 0 h 58"/>
                  <a:gd name="T2" fmla="*/ 58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0"/>
                    </a:moveTo>
                    <a:cubicBezTo>
                      <a:pt x="0" y="32"/>
                      <a:pt x="26" y="58"/>
                      <a:pt x="58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2" name="Freeform 760"/>
              <p:cNvSpPr>
                <a:spLocks/>
              </p:cNvSpPr>
              <p:nvPr userDrawn="1"/>
            </p:nvSpPr>
            <p:spPr bwMode="auto">
              <a:xfrm>
                <a:off x="5451475" y="42624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5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3" name="Freeform 761"/>
              <p:cNvSpPr>
                <a:spLocks/>
              </p:cNvSpPr>
              <p:nvPr userDrawn="1"/>
            </p:nvSpPr>
            <p:spPr bwMode="auto">
              <a:xfrm>
                <a:off x="5499100" y="42624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8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4" name="Freeform 762"/>
              <p:cNvSpPr>
                <a:spLocks/>
              </p:cNvSpPr>
              <p:nvPr userDrawn="1"/>
            </p:nvSpPr>
            <p:spPr bwMode="auto">
              <a:xfrm>
                <a:off x="5543550" y="4262438"/>
                <a:ext cx="73025" cy="69850"/>
              </a:xfrm>
              <a:custGeom>
                <a:avLst/>
                <a:gdLst>
                  <a:gd name="T0" fmla="*/ 0 w 20"/>
                  <a:gd name="T1" fmla="*/ 0 h 19"/>
                  <a:gd name="T2" fmla="*/ 20 w 20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0" y="0"/>
                    </a:moveTo>
                    <a:cubicBezTo>
                      <a:pt x="0" y="11"/>
                      <a:pt x="9" y="19"/>
                      <a:pt x="2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5" name="Freeform 763"/>
              <p:cNvSpPr>
                <a:spLocks/>
              </p:cNvSpPr>
              <p:nvPr userDrawn="1"/>
            </p:nvSpPr>
            <p:spPr bwMode="auto">
              <a:xfrm>
                <a:off x="5591175" y="4262438"/>
                <a:ext cx="25400" cy="25400"/>
              </a:xfrm>
              <a:custGeom>
                <a:avLst/>
                <a:gdLst>
                  <a:gd name="T0" fmla="*/ 0 w 7"/>
                  <a:gd name="T1" fmla="*/ 0 h 7"/>
                  <a:gd name="T2" fmla="*/ 7 w 7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0" y="0"/>
                    </a:moveTo>
                    <a:cubicBezTo>
                      <a:pt x="0" y="4"/>
                      <a:pt x="3" y="7"/>
                      <a:pt x="7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6" name="Freeform 764"/>
              <p:cNvSpPr>
                <a:spLocks/>
              </p:cNvSpPr>
              <p:nvPr userDrawn="1"/>
            </p:nvSpPr>
            <p:spPr bwMode="auto">
              <a:xfrm>
                <a:off x="5616575" y="4262438"/>
                <a:ext cx="969963" cy="971550"/>
              </a:xfrm>
              <a:custGeom>
                <a:avLst/>
                <a:gdLst>
                  <a:gd name="T0" fmla="*/ 264 w 264"/>
                  <a:gd name="T1" fmla="*/ 0 h 264"/>
                  <a:gd name="T2" fmla="*/ 0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0"/>
                    </a:moveTo>
                    <a:cubicBezTo>
                      <a:pt x="118" y="0"/>
                      <a:pt x="0" y="118"/>
                      <a:pt x="0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7" name="Freeform 765"/>
              <p:cNvSpPr>
                <a:spLocks/>
              </p:cNvSpPr>
              <p:nvPr userDrawn="1"/>
            </p:nvSpPr>
            <p:spPr bwMode="auto">
              <a:xfrm>
                <a:off x="5664200" y="4310063"/>
                <a:ext cx="922338" cy="923925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2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8" name="Freeform 766"/>
              <p:cNvSpPr>
                <a:spLocks/>
              </p:cNvSpPr>
              <p:nvPr userDrawn="1"/>
            </p:nvSpPr>
            <p:spPr bwMode="auto">
              <a:xfrm>
                <a:off x="5708650" y="4357688"/>
                <a:ext cx="877888" cy="876300"/>
              </a:xfrm>
              <a:custGeom>
                <a:avLst/>
                <a:gdLst>
                  <a:gd name="T0" fmla="*/ 239 w 239"/>
                  <a:gd name="T1" fmla="*/ 0 h 238"/>
                  <a:gd name="T2" fmla="*/ 0 w 239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9" h="238">
                    <a:moveTo>
                      <a:pt x="239" y="0"/>
                    </a:moveTo>
                    <a:cubicBezTo>
                      <a:pt x="107" y="0"/>
                      <a:pt x="0" y="106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9" name="Freeform 767"/>
              <p:cNvSpPr>
                <a:spLocks/>
              </p:cNvSpPr>
              <p:nvPr userDrawn="1"/>
            </p:nvSpPr>
            <p:spPr bwMode="auto">
              <a:xfrm>
                <a:off x="5756275" y="4405313"/>
                <a:ext cx="830263" cy="828675"/>
              </a:xfrm>
              <a:custGeom>
                <a:avLst/>
                <a:gdLst>
                  <a:gd name="T0" fmla="*/ 226 w 226"/>
                  <a:gd name="T1" fmla="*/ 0 h 225"/>
                  <a:gd name="T2" fmla="*/ 0 w 226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6" h="225">
                    <a:moveTo>
                      <a:pt x="226" y="0"/>
                    </a:moveTo>
                    <a:cubicBezTo>
                      <a:pt x="101" y="0"/>
                      <a:pt x="0" y="100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0" name="Freeform 768"/>
              <p:cNvSpPr>
                <a:spLocks/>
              </p:cNvSpPr>
              <p:nvPr userDrawn="1"/>
            </p:nvSpPr>
            <p:spPr bwMode="auto">
              <a:xfrm>
                <a:off x="5803900" y="4454525"/>
                <a:ext cx="782638" cy="779462"/>
              </a:xfrm>
              <a:custGeom>
                <a:avLst/>
                <a:gdLst>
                  <a:gd name="T0" fmla="*/ 213 w 213"/>
                  <a:gd name="T1" fmla="*/ 0 h 212"/>
                  <a:gd name="T2" fmla="*/ 0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213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1" name="Freeform 769"/>
              <p:cNvSpPr>
                <a:spLocks/>
              </p:cNvSpPr>
              <p:nvPr userDrawn="1"/>
            </p:nvSpPr>
            <p:spPr bwMode="auto">
              <a:xfrm>
                <a:off x="5851525" y="4497388"/>
                <a:ext cx="735013" cy="736600"/>
              </a:xfrm>
              <a:custGeom>
                <a:avLst/>
                <a:gdLst>
                  <a:gd name="T0" fmla="*/ 200 w 200"/>
                  <a:gd name="T1" fmla="*/ 0 h 200"/>
                  <a:gd name="T2" fmla="*/ 0 w 200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200" y="0"/>
                    </a:moveTo>
                    <a:cubicBezTo>
                      <a:pt x="89" y="0"/>
                      <a:pt x="0" y="90"/>
                      <a:pt x="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2" name="Freeform 770"/>
              <p:cNvSpPr>
                <a:spLocks/>
              </p:cNvSpPr>
              <p:nvPr userDrawn="1"/>
            </p:nvSpPr>
            <p:spPr bwMode="auto">
              <a:xfrm>
                <a:off x="5899150" y="4546600"/>
                <a:ext cx="687388" cy="687387"/>
              </a:xfrm>
              <a:custGeom>
                <a:avLst/>
                <a:gdLst>
                  <a:gd name="T0" fmla="*/ 187 w 187"/>
                  <a:gd name="T1" fmla="*/ 0 h 187"/>
                  <a:gd name="T2" fmla="*/ 0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0"/>
                    </a:moveTo>
                    <a:cubicBezTo>
                      <a:pt x="83" y="0"/>
                      <a:pt x="0" y="84"/>
                      <a:pt x="0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3" name="Freeform 771"/>
              <p:cNvSpPr>
                <a:spLocks/>
              </p:cNvSpPr>
              <p:nvPr userDrawn="1"/>
            </p:nvSpPr>
            <p:spPr bwMode="auto">
              <a:xfrm>
                <a:off x="5946775" y="4594225"/>
                <a:ext cx="639763" cy="639762"/>
              </a:xfrm>
              <a:custGeom>
                <a:avLst/>
                <a:gdLst>
                  <a:gd name="T0" fmla="*/ 174 w 174"/>
                  <a:gd name="T1" fmla="*/ 0 h 174"/>
                  <a:gd name="T2" fmla="*/ 0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4" name="Freeform 772"/>
              <p:cNvSpPr>
                <a:spLocks/>
              </p:cNvSpPr>
              <p:nvPr userDrawn="1"/>
            </p:nvSpPr>
            <p:spPr bwMode="auto">
              <a:xfrm>
                <a:off x="5995987" y="4641850"/>
                <a:ext cx="590550" cy="592137"/>
              </a:xfrm>
              <a:custGeom>
                <a:avLst/>
                <a:gdLst>
                  <a:gd name="T0" fmla="*/ 161 w 161"/>
                  <a:gd name="T1" fmla="*/ 0 h 161"/>
                  <a:gd name="T2" fmla="*/ 0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0"/>
                    </a:moveTo>
                    <a:cubicBezTo>
                      <a:pt x="72" y="0"/>
                      <a:pt x="0" y="72"/>
                      <a:pt x="0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5" name="Freeform 773"/>
              <p:cNvSpPr>
                <a:spLocks/>
              </p:cNvSpPr>
              <p:nvPr userDrawn="1"/>
            </p:nvSpPr>
            <p:spPr bwMode="auto">
              <a:xfrm>
                <a:off x="6043612" y="4689475"/>
                <a:ext cx="542925" cy="544512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6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6" name="Freeform 774"/>
              <p:cNvSpPr>
                <a:spLocks/>
              </p:cNvSpPr>
              <p:nvPr userDrawn="1"/>
            </p:nvSpPr>
            <p:spPr bwMode="auto">
              <a:xfrm>
                <a:off x="6086475" y="4737100"/>
                <a:ext cx="500063" cy="496887"/>
              </a:xfrm>
              <a:custGeom>
                <a:avLst/>
                <a:gdLst>
                  <a:gd name="T0" fmla="*/ 136 w 136"/>
                  <a:gd name="T1" fmla="*/ 0 h 135"/>
                  <a:gd name="T2" fmla="*/ 0 w 136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6" h="135">
                    <a:moveTo>
                      <a:pt x="136" y="0"/>
                    </a:moveTo>
                    <a:cubicBezTo>
                      <a:pt x="61" y="0"/>
                      <a:pt x="0" y="60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7" name="Freeform 775"/>
              <p:cNvSpPr>
                <a:spLocks/>
              </p:cNvSpPr>
              <p:nvPr userDrawn="1"/>
            </p:nvSpPr>
            <p:spPr bwMode="auto">
              <a:xfrm>
                <a:off x="6135687" y="4784725"/>
                <a:ext cx="450850" cy="449262"/>
              </a:xfrm>
              <a:custGeom>
                <a:avLst/>
                <a:gdLst>
                  <a:gd name="T0" fmla="*/ 123 w 123"/>
                  <a:gd name="T1" fmla="*/ 0 h 122"/>
                  <a:gd name="T2" fmla="*/ 0 w 123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3" h="122">
                    <a:moveTo>
                      <a:pt x="123" y="0"/>
                    </a:moveTo>
                    <a:cubicBezTo>
                      <a:pt x="55" y="0"/>
                      <a:pt x="0" y="54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8" name="Freeform 776"/>
              <p:cNvSpPr>
                <a:spLocks/>
              </p:cNvSpPr>
              <p:nvPr userDrawn="1"/>
            </p:nvSpPr>
            <p:spPr bwMode="auto">
              <a:xfrm>
                <a:off x="6183312" y="4829175"/>
                <a:ext cx="403225" cy="404812"/>
              </a:xfrm>
              <a:custGeom>
                <a:avLst/>
                <a:gdLst>
                  <a:gd name="T0" fmla="*/ 110 w 110"/>
                  <a:gd name="T1" fmla="*/ 0 h 110"/>
                  <a:gd name="T2" fmla="*/ 0 w 110"/>
                  <a:gd name="T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10">
                    <a:moveTo>
                      <a:pt x="110" y="0"/>
                    </a:moveTo>
                    <a:cubicBezTo>
                      <a:pt x="49" y="0"/>
                      <a:pt x="0" y="49"/>
                      <a:pt x="0" y="11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9" name="Freeform 777"/>
              <p:cNvSpPr>
                <a:spLocks/>
              </p:cNvSpPr>
              <p:nvPr userDrawn="1"/>
            </p:nvSpPr>
            <p:spPr bwMode="auto">
              <a:xfrm>
                <a:off x="6230937" y="4876800"/>
                <a:ext cx="355600" cy="357187"/>
              </a:xfrm>
              <a:custGeom>
                <a:avLst/>
                <a:gdLst>
                  <a:gd name="T0" fmla="*/ 97 w 97"/>
                  <a:gd name="T1" fmla="*/ 0 h 97"/>
                  <a:gd name="T2" fmla="*/ 0 w 97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97" y="0"/>
                    </a:moveTo>
                    <a:cubicBezTo>
                      <a:pt x="43" y="0"/>
                      <a:pt x="0" y="44"/>
                      <a:pt x="0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0" name="Freeform 778"/>
              <p:cNvSpPr>
                <a:spLocks/>
              </p:cNvSpPr>
              <p:nvPr userDrawn="1"/>
            </p:nvSpPr>
            <p:spPr bwMode="auto">
              <a:xfrm>
                <a:off x="6278562" y="4924425"/>
                <a:ext cx="307975" cy="309562"/>
              </a:xfrm>
              <a:custGeom>
                <a:avLst/>
                <a:gdLst>
                  <a:gd name="T0" fmla="*/ 84 w 84"/>
                  <a:gd name="T1" fmla="*/ 0 h 84"/>
                  <a:gd name="T2" fmla="*/ 0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cubicBezTo>
                      <a:pt x="37" y="0"/>
                      <a:pt x="0" y="38"/>
                      <a:pt x="0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1" name="Freeform 779"/>
              <p:cNvSpPr>
                <a:spLocks/>
              </p:cNvSpPr>
              <p:nvPr userDrawn="1"/>
            </p:nvSpPr>
            <p:spPr bwMode="auto">
              <a:xfrm>
                <a:off x="6326187" y="4972050"/>
                <a:ext cx="260350" cy="261937"/>
              </a:xfrm>
              <a:custGeom>
                <a:avLst/>
                <a:gdLst>
                  <a:gd name="T0" fmla="*/ 71 w 71"/>
                  <a:gd name="T1" fmla="*/ 0 h 71"/>
                  <a:gd name="T2" fmla="*/ 0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31" y="0"/>
                      <a:pt x="0" y="32"/>
                      <a:pt x="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2" name="Freeform 780"/>
              <p:cNvSpPr>
                <a:spLocks/>
              </p:cNvSpPr>
              <p:nvPr userDrawn="1"/>
            </p:nvSpPr>
            <p:spPr bwMode="auto">
              <a:xfrm>
                <a:off x="6373812" y="5021263"/>
                <a:ext cx="212725" cy="212725"/>
              </a:xfrm>
              <a:custGeom>
                <a:avLst/>
                <a:gdLst>
                  <a:gd name="T0" fmla="*/ 58 w 58"/>
                  <a:gd name="T1" fmla="*/ 0 h 58"/>
                  <a:gd name="T2" fmla="*/ 0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0"/>
                    </a:moveTo>
                    <a:cubicBezTo>
                      <a:pt x="26" y="0"/>
                      <a:pt x="0" y="26"/>
                      <a:pt x="0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3" name="Freeform 781"/>
              <p:cNvSpPr>
                <a:spLocks/>
              </p:cNvSpPr>
              <p:nvPr userDrawn="1"/>
            </p:nvSpPr>
            <p:spPr bwMode="auto">
              <a:xfrm>
                <a:off x="6418262" y="5068888"/>
                <a:ext cx="168275" cy="165100"/>
              </a:xfrm>
              <a:custGeom>
                <a:avLst/>
                <a:gdLst>
                  <a:gd name="T0" fmla="*/ 46 w 46"/>
                  <a:gd name="T1" fmla="*/ 0 h 45"/>
                  <a:gd name="T2" fmla="*/ 0 w 46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5">
                    <a:moveTo>
                      <a:pt x="46" y="0"/>
                    </a:moveTo>
                    <a:cubicBezTo>
                      <a:pt x="21" y="0"/>
                      <a:pt x="0" y="20"/>
                      <a:pt x="0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4" name="Freeform 782"/>
              <p:cNvSpPr>
                <a:spLocks/>
              </p:cNvSpPr>
              <p:nvPr userDrawn="1"/>
            </p:nvSpPr>
            <p:spPr bwMode="auto">
              <a:xfrm>
                <a:off x="6465887" y="5116513"/>
                <a:ext cx="120650" cy="117475"/>
              </a:xfrm>
              <a:custGeom>
                <a:avLst/>
                <a:gdLst>
                  <a:gd name="T0" fmla="*/ 33 w 33"/>
                  <a:gd name="T1" fmla="*/ 0 h 32"/>
                  <a:gd name="T2" fmla="*/ 0 w 33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3" h="32">
                    <a:moveTo>
                      <a:pt x="33" y="0"/>
                    </a:moveTo>
                    <a:cubicBezTo>
                      <a:pt x="15" y="0"/>
                      <a:pt x="0" y="14"/>
                      <a:pt x="0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5" name="Freeform 783"/>
              <p:cNvSpPr>
                <a:spLocks/>
              </p:cNvSpPr>
              <p:nvPr userDrawn="1"/>
            </p:nvSpPr>
            <p:spPr bwMode="auto">
              <a:xfrm>
                <a:off x="6513512" y="5164138"/>
                <a:ext cx="73025" cy="69850"/>
              </a:xfrm>
              <a:custGeom>
                <a:avLst/>
                <a:gdLst>
                  <a:gd name="T0" fmla="*/ 20 w 20"/>
                  <a:gd name="T1" fmla="*/ 0 h 19"/>
                  <a:gd name="T2" fmla="*/ 0 w 20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20" y="0"/>
                    </a:moveTo>
                    <a:cubicBezTo>
                      <a:pt x="9" y="0"/>
                      <a:pt x="0" y="8"/>
                      <a:pt x="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6" name="Freeform 784"/>
              <p:cNvSpPr>
                <a:spLocks/>
              </p:cNvSpPr>
              <p:nvPr userDrawn="1"/>
            </p:nvSpPr>
            <p:spPr bwMode="auto">
              <a:xfrm>
                <a:off x="6561137" y="5208588"/>
                <a:ext cx="25400" cy="25400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cubicBezTo>
                      <a:pt x="3" y="0"/>
                      <a:pt x="0" y="3"/>
                      <a:pt x="0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7" name="Freeform 785"/>
              <p:cNvSpPr>
                <a:spLocks/>
              </p:cNvSpPr>
              <p:nvPr userDrawn="1"/>
            </p:nvSpPr>
            <p:spPr bwMode="auto">
              <a:xfrm>
                <a:off x="4646612" y="6205538"/>
                <a:ext cx="969963" cy="966787"/>
              </a:xfrm>
              <a:custGeom>
                <a:avLst/>
                <a:gdLst>
                  <a:gd name="T0" fmla="*/ 0 w 264"/>
                  <a:gd name="T1" fmla="*/ 0 h 263"/>
                  <a:gd name="T2" fmla="*/ 264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0" y="0"/>
                    </a:moveTo>
                    <a:cubicBezTo>
                      <a:pt x="0" y="145"/>
                      <a:pt x="118" y="263"/>
                      <a:pt x="264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8" name="Freeform 786"/>
              <p:cNvSpPr>
                <a:spLocks/>
              </p:cNvSpPr>
              <p:nvPr userDrawn="1"/>
            </p:nvSpPr>
            <p:spPr bwMode="auto">
              <a:xfrm>
                <a:off x="4694237" y="6205538"/>
                <a:ext cx="922338" cy="919162"/>
              </a:xfrm>
              <a:custGeom>
                <a:avLst/>
                <a:gdLst>
                  <a:gd name="T0" fmla="*/ 0 w 251"/>
                  <a:gd name="T1" fmla="*/ 0 h 250"/>
                  <a:gd name="T2" fmla="*/ 251 w 251"/>
                  <a:gd name="T3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0">
                    <a:moveTo>
                      <a:pt x="0" y="0"/>
                    </a:moveTo>
                    <a:cubicBezTo>
                      <a:pt x="0" y="138"/>
                      <a:pt x="112" y="250"/>
                      <a:pt x="251" y="25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9" name="Freeform 787"/>
              <p:cNvSpPr>
                <a:spLocks/>
              </p:cNvSpPr>
              <p:nvPr userDrawn="1"/>
            </p:nvSpPr>
            <p:spPr bwMode="auto">
              <a:xfrm>
                <a:off x="4741862" y="6205538"/>
                <a:ext cx="874713" cy="874712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1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0" name="Freeform 788"/>
              <p:cNvSpPr>
                <a:spLocks/>
              </p:cNvSpPr>
              <p:nvPr userDrawn="1"/>
            </p:nvSpPr>
            <p:spPr bwMode="auto">
              <a:xfrm>
                <a:off x="4789487" y="6205538"/>
                <a:ext cx="827088" cy="827087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4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1" name="Freeform 789"/>
              <p:cNvSpPr>
                <a:spLocks/>
              </p:cNvSpPr>
              <p:nvPr userDrawn="1"/>
            </p:nvSpPr>
            <p:spPr bwMode="auto">
              <a:xfrm>
                <a:off x="4833937" y="6205538"/>
                <a:ext cx="782638" cy="779462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2" name="Freeform 790"/>
              <p:cNvSpPr>
                <a:spLocks/>
              </p:cNvSpPr>
              <p:nvPr userDrawn="1"/>
            </p:nvSpPr>
            <p:spPr bwMode="auto">
              <a:xfrm>
                <a:off x="4881562" y="6205538"/>
                <a:ext cx="735013" cy="731837"/>
              </a:xfrm>
              <a:custGeom>
                <a:avLst/>
                <a:gdLst>
                  <a:gd name="T0" fmla="*/ 0 w 200"/>
                  <a:gd name="T1" fmla="*/ 0 h 199"/>
                  <a:gd name="T2" fmla="*/ 200 w 200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0" y="0"/>
                    </a:moveTo>
                    <a:cubicBezTo>
                      <a:pt x="0" y="110"/>
                      <a:pt x="90" y="199"/>
                      <a:pt x="20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3" name="Freeform 791"/>
              <p:cNvSpPr>
                <a:spLocks/>
              </p:cNvSpPr>
              <p:nvPr userDrawn="1"/>
            </p:nvSpPr>
            <p:spPr bwMode="auto">
              <a:xfrm>
                <a:off x="4929187" y="6205538"/>
                <a:ext cx="687388" cy="684212"/>
              </a:xfrm>
              <a:custGeom>
                <a:avLst/>
                <a:gdLst>
                  <a:gd name="T0" fmla="*/ 0 w 187"/>
                  <a:gd name="T1" fmla="*/ 0 h 186"/>
                  <a:gd name="T2" fmla="*/ 187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0"/>
                    </a:moveTo>
                    <a:cubicBezTo>
                      <a:pt x="0" y="103"/>
                      <a:pt x="84" y="186"/>
                      <a:pt x="187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4" name="Freeform 792"/>
              <p:cNvSpPr>
                <a:spLocks/>
              </p:cNvSpPr>
              <p:nvPr userDrawn="1"/>
            </p:nvSpPr>
            <p:spPr bwMode="auto">
              <a:xfrm>
                <a:off x="4976812" y="6205538"/>
                <a:ext cx="639763" cy="636587"/>
              </a:xfrm>
              <a:custGeom>
                <a:avLst/>
                <a:gdLst>
                  <a:gd name="T0" fmla="*/ 0 w 174"/>
                  <a:gd name="T1" fmla="*/ 0 h 173"/>
                  <a:gd name="T2" fmla="*/ 174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0" y="0"/>
                    </a:moveTo>
                    <a:cubicBezTo>
                      <a:pt x="0" y="96"/>
                      <a:pt x="78" y="173"/>
                      <a:pt x="174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5" name="Freeform 793"/>
              <p:cNvSpPr>
                <a:spLocks/>
              </p:cNvSpPr>
              <p:nvPr userDrawn="1"/>
            </p:nvSpPr>
            <p:spPr bwMode="auto">
              <a:xfrm>
                <a:off x="5024437" y="6205538"/>
                <a:ext cx="592138" cy="588962"/>
              </a:xfrm>
              <a:custGeom>
                <a:avLst/>
                <a:gdLst>
                  <a:gd name="T0" fmla="*/ 0 w 161"/>
                  <a:gd name="T1" fmla="*/ 0 h 160"/>
                  <a:gd name="T2" fmla="*/ 161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0" y="0"/>
                    </a:moveTo>
                    <a:cubicBezTo>
                      <a:pt x="0" y="88"/>
                      <a:pt x="72" y="160"/>
                      <a:pt x="161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6" name="Freeform 794"/>
              <p:cNvSpPr>
                <a:spLocks/>
              </p:cNvSpPr>
              <p:nvPr userDrawn="1"/>
            </p:nvSpPr>
            <p:spPr bwMode="auto">
              <a:xfrm>
                <a:off x="5072062" y="6205538"/>
                <a:ext cx="544513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1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7" name="Freeform 795"/>
              <p:cNvSpPr>
                <a:spLocks/>
              </p:cNvSpPr>
              <p:nvPr userDrawn="1"/>
            </p:nvSpPr>
            <p:spPr bwMode="auto">
              <a:xfrm>
                <a:off x="5121275" y="62055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4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8" name="Freeform 796"/>
              <p:cNvSpPr>
                <a:spLocks/>
              </p:cNvSpPr>
              <p:nvPr userDrawn="1"/>
            </p:nvSpPr>
            <p:spPr bwMode="auto">
              <a:xfrm>
                <a:off x="5168900" y="6205538"/>
                <a:ext cx="447675" cy="447675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7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9" name="Freeform 797"/>
              <p:cNvSpPr>
                <a:spLocks/>
              </p:cNvSpPr>
              <p:nvPr userDrawn="1"/>
            </p:nvSpPr>
            <p:spPr bwMode="auto">
              <a:xfrm>
                <a:off x="5211762" y="6205538"/>
                <a:ext cx="404813" cy="400050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0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0" name="Freeform 798"/>
              <p:cNvSpPr>
                <a:spLocks/>
              </p:cNvSpPr>
              <p:nvPr userDrawn="1"/>
            </p:nvSpPr>
            <p:spPr bwMode="auto">
              <a:xfrm>
                <a:off x="5260975" y="6205538"/>
                <a:ext cx="355600" cy="352425"/>
              </a:xfrm>
              <a:custGeom>
                <a:avLst/>
                <a:gdLst>
                  <a:gd name="T0" fmla="*/ 0 w 97"/>
                  <a:gd name="T1" fmla="*/ 0 h 96"/>
                  <a:gd name="T2" fmla="*/ 97 w 97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0"/>
                    </a:moveTo>
                    <a:cubicBezTo>
                      <a:pt x="0" y="53"/>
                      <a:pt x="43" y="96"/>
                      <a:pt x="97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1" name="Freeform 799"/>
              <p:cNvSpPr>
                <a:spLocks/>
              </p:cNvSpPr>
              <p:nvPr userDrawn="1"/>
            </p:nvSpPr>
            <p:spPr bwMode="auto">
              <a:xfrm>
                <a:off x="5308600" y="6205538"/>
                <a:ext cx="307975" cy="304800"/>
              </a:xfrm>
              <a:custGeom>
                <a:avLst/>
                <a:gdLst>
                  <a:gd name="T0" fmla="*/ 0 w 84"/>
                  <a:gd name="T1" fmla="*/ 0 h 83"/>
                  <a:gd name="T2" fmla="*/ 84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0"/>
                    </a:moveTo>
                    <a:cubicBezTo>
                      <a:pt x="0" y="46"/>
                      <a:pt x="38" y="83"/>
                      <a:pt x="84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2" name="Freeform 800"/>
              <p:cNvSpPr>
                <a:spLocks/>
              </p:cNvSpPr>
              <p:nvPr userDrawn="1"/>
            </p:nvSpPr>
            <p:spPr bwMode="auto">
              <a:xfrm>
                <a:off x="5356225" y="6205538"/>
                <a:ext cx="260350" cy="257175"/>
              </a:xfrm>
              <a:custGeom>
                <a:avLst/>
                <a:gdLst>
                  <a:gd name="T0" fmla="*/ 0 w 71"/>
                  <a:gd name="T1" fmla="*/ 0 h 70"/>
                  <a:gd name="T2" fmla="*/ 71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0" y="0"/>
                    </a:moveTo>
                    <a:cubicBezTo>
                      <a:pt x="0" y="39"/>
                      <a:pt x="32" y="70"/>
                      <a:pt x="71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3" name="Freeform 801"/>
              <p:cNvSpPr>
                <a:spLocks/>
              </p:cNvSpPr>
              <p:nvPr userDrawn="1"/>
            </p:nvSpPr>
            <p:spPr bwMode="auto">
              <a:xfrm>
                <a:off x="5403850" y="6205538"/>
                <a:ext cx="212725" cy="209550"/>
              </a:xfrm>
              <a:custGeom>
                <a:avLst/>
                <a:gdLst>
                  <a:gd name="T0" fmla="*/ 0 w 58"/>
                  <a:gd name="T1" fmla="*/ 0 h 57"/>
                  <a:gd name="T2" fmla="*/ 58 w 58"/>
                  <a:gd name="T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7">
                    <a:moveTo>
                      <a:pt x="0" y="0"/>
                    </a:moveTo>
                    <a:cubicBezTo>
                      <a:pt x="0" y="32"/>
                      <a:pt x="26" y="57"/>
                      <a:pt x="58" y="5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4" name="Freeform 802"/>
              <p:cNvSpPr>
                <a:spLocks/>
              </p:cNvSpPr>
              <p:nvPr userDrawn="1"/>
            </p:nvSpPr>
            <p:spPr bwMode="auto">
              <a:xfrm>
                <a:off x="5451475" y="62055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4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5" name="Freeform 803"/>
              <p:cNvSpPr>
                <a:spLocks/>
              </p:cNvSpPr>
              <p:nvPr userDrawn="1"/>
            </p:nvSpPr>
            <p:spPr bwMode="auto">
              <a:xfrm>
                <a:off x="5499100" y="62055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7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6" name="Freeform 804"/>
              <p:cNvSpPr>
                <a:spLocks/>
              </p:cNvSpPr>
              <p:nvPr userDrawn="1"/>
            </p:nvSpPr>
            <p:spPr bwMode="auto">
              <a:xfrm>
                <a:off x="5543550" y="6205538"/>
                <a:ext cx="73025" cy="69850"/>
              </a:xfrm>
              <a:custGeom>
                <a:avLst/>
                <a:gdLst>
                  <a:gd name="T0" fmla="*/ 0 w 20"/>
                  <a:gd name="T1" fmla="*/ 0 h 19"/>
                  <a:gd name="T2" fmla="*/ 20 w 20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0" y="0"/>
                    </a:moveTo>
                    <a:cubicBezTo>
                      <a:pt x="0" y="10"/>
                      <a:pt x="9" y="19"/>
                      <a:pt x="2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7" name="Freeform 805"/>
              <p:cNvSpPr>
                <a:spLocks/>
              </p:cNvSpPr>
              <p:nvPr userDrawn="1"/>
            </p:nvSpPr>
            <p:spPr bwMode="auto">
              <a:xfrm>
                <a:off x="5591175" y="6205538"/>
                <a:ext cx="25400" cy="22225"/>
              </a:xfrm>
              <a:custGeom>
                <a:avLst/>
                <a:gdLst>
                  <a:gd name="T0" fmla="*/ 0 w 7"/>
                  <a:gd name="T1" fmla="*/ 0 h 6"/>
                  <a:gd name="T2" fmla="*/ 7 w 7"/>
                  <a:gd name="T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0" y="3"/>
                      <a:pt x="3" y="6"/>
                      <a:pt x="7" y="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8" name="Freeform 806"/>
              <p:cNvSpPr>
                <a:spLocks/>
              </p:cNvSpPr>
              <p:nvPr userDrawn="1"/>
            </p:nvSpPr>
            <p:spPr bwMode="auto">
              <a:xfrm>
                <a:off x="5616575" y="6205538"/>
                <a:ext cx="969963" cy="966787"/>
              </a:xfrm>
              <a:custGeom>
                <a:avLst/>
                <a:gdLst>
                  <a:gd name="T0" fmla="*/ 264 w 264"/>
                  <a:gd name="T1" fmla="*/ 0 h 263"/>
                  <a:gd name="T2" fmla="*/ 0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264" y="0"/>
                    </a:moveTo>
                    <a:cubicBezTo>
                      <a:pt x="118" y="0"/>
                      <a:pt x="0" y="118"/>
                      <a:pt x="0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9" name="Freeform 807"/>
              <p:cNvSpPr>
                <a:spLocks/>
              </p:cNvSpPr>
              <p:nvPr userDrawn="1"/>
            </p:nvSpPr>
            <p:spPr bwMode="auto">
              <a:xfrm>
                <a:off x="5664200" y="6249988"/>
                <a:ext cx="922338" cy="922337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3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0" name="Freeform 809"/>
              <p:cNvSpPr>
                <a:spLocks/>
              </p:cNvSpPr>
              <p:nvPr userDrawn="1"/>
            </p:nvSpPr>
            <p:spPr bwMode="auto">
              <a:xfrm>
                <a:off x="5708650" y="6297613"/>
                <a:ext cx="877888" cy="874712"/>
              </a:xfrm>
              <a:custGeom>
                <a:avLst/>
                <a:gdLst>
                  <a:gd name="T0" fmla="*/ 239 w 239"/>
                  <a:gd name="T1" fmla="*/ 0 h 238"/>
                  <a:gd name="T2" fmla="*/ 0 w 239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9" h="238">
                    <a:moveTo>
                      <a:pt x="239" y="0"/>
                    </a:moveTo>
                    <a:cubicBezTo>
                      <a:pt x="107" y="0"/>
                      <a:pt x="0" y="107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1" name="Freeform 810"/>
              <p:cNvSpPr>
                <a:spLocks/>
              </p:cNvSpPr>
              <p:nvPr userDrawn="1"/>
            </p:nvSpPr>
            <p:spPr bwMode="auto">
              <a:xfrm>
                <a:off x="5756275" y="6345238"/>
                <a:ext cx="830263" cy="827087"/>
              </a:xfrm>
              <a:custGeom>
                <a:avLst/>
                <a:gdLst>
                  <a:gd name="T0" fmla="*/ 226 w 226"/>
                  <a:gd name="T1" fmla="*/ 0 h 225"/>
                  <a:gd name="T2" fmla="*/ 0 w 226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6" h="225">
                    <a:moveTo>
                      <a:pt x="226" y="0"/>
                    </a:moveTo>
                    <a:cubicBezTo>
                      <a:pt x="101" y="0"/>
                      <a:pt x="0" y="101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2" name="Freeform 811"/>
              <p:cNvSpPr>
                <a:spLocks/>
              </p:cNvSpPr>
              <p:nvPr userDrawn="1"/>
            </p:nvSpPr>
            <p:spPr bwMode="auto">
              <a:xfrm>
                <a:off x="5803900" y="6392863"/>
                <a:ext cx="782638" cy="779462"/>
              </a:xfrm>
              <a:custGeom>
                <a:avLst/>
                <a:gdLst>
                  <a:gd name="T0" fmla="*/ 213 w 213"/>
                  <a:gd name="T1" fmla="*/ 0 h 212"/>
                  <a:gd name="T2" fmla="*/ 0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213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3" name="Freeform 812"/>
              <p:cNvSpPr>
                <a:spLocks/>
              </p:cNvSpPr>
              <p:nvPr userDrawn="1"/>
            </p:nvSpPr>
            <p:spPr bwMode="auto">
              <a:xfrm>
                <a:off x="5851525" y="6440488"/>
                <a:ext cx="735013" cy="731837"/>
              </a:xfrm>
              <a:custGeom>
                <a:avLst/>
                <a:gdLst>
                  <a:gd name="T0" fmla="*/ 200 w 200"/>
                  <a:gd name="T1" fmla="*/ 0 h 199"/>
                  <a:gd name="T2" fmla="*/ 0 w 200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200" y="0"/>
                    </a:moveTo>
                    <a:cubicBezTo>
                      <a:pt x="89" y="0"/>
                      <a:pt x="0" y="89"/>
                      <a:pt x="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4" name="Freeform 813"/>
              <p:cNvSpPr>
                <a:spLocks/>
              </p:cNvSpPr>
              <p:nvPr userDrawn="1"/>
            </p:nvSpPr>
            <p:spPr bwMode="auto">
              <a:xfrm>
                <a:off x="5899150" y="6488113"/>
                <a:ext cx="687388" cy="684212"/>
              </a:xfrm>
              <a:custGeom>
                <a:avLst/>
                <a:gdLst>
                  <a:gd name="T0" fmla="*/ 187 w 187"/>
                  <a:gd name="T1" fmla="*/ 0 h 186"/>
                  <a:gd name="T2" fmla="*/ 0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0"/>
                    </a:moveTo>
                    <a:cubicBezTo>
                      <a:pt x="83" y="0"/>
                      <a:pt x="0" y="83"/>
                      <a:pt x="0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5" name="Freeform 814"/>
              <p:cNvSpPr>
                <a:spLocks/>
              </p:cNvSpPr>
              <p:nvPr userDrawn="1"/>
            </p:nvSpPr>
            <p:spPr bwMode="auto">
              <a:xfrm>
                <a:off x="5815805" y="6549231"/>
                <a:ext cx="639763" cy="636587"/>
              </a:xfrm>
              <a:custGeom>
                <a:avLst/>
                <a:gdLst>
                  <a:gd name="T0" fmla="*/ 174 w 174"/>
                  <a:gd name="T1" fmla="*/ 0 h 173"/>
                  <a:gd name="T2" fmla="*/ 0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174" y="0"/>
                    </a:moveTo>
                    <a:cubicBezTo>
                      <a:pt x="78" y="0"/>
                      <a:pt x="0" y="77"/>
                      <a:pt x="0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6" name="Freeform 815"/>
              <p:cNvSpPr>
                <a:spLocks/>
              </p:cNvSpPr>
              <p:nvPr userDrawn="1"/>
            </p:nvSpPr>
            <p:spPr bwMode="auto">
              <a:xfrm>
                <a:off x="5995987" y="6583363"/>
                <a:ext cx="590550" cy="588962"/>
              </a:xfrm>
              <a:custGeom>
                <a:avLst/>
                <a:gdLst>
                  <a:gd name="T0" fmla="*/ 161 w 161"/>
                  <a:gd name="T1" fmla="*/ 0 h 160"/>
                  <a:gd name="T2" fmla="*/ 0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161" y="0"/>
                    </a:moveTo>
                    <a:cubicBezTo>
                      <a:pt x="72" y="0"/>
                      <a:pt x="0" y="71"/>
                      <a:pt x="0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7" name="Freeform 816"/>
              <p:cNvSpPr>
                <a:spLocks/>
              </p:cNvSpPr>
              <p:nvPr userDrawn="1"/>
            </p:nvSpPr>
            <p:spPr bwMode="auto">
              <a:xfrm>
                <a:off x="6043612" y="6627813"/>
                <a:ext cx="542925" cy="544512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7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8" name="Freeform 817"/>
              <p:cNvSpPr>
                <a:spLocks/>
              </p:cNvSpPr>
              <p:nvPr userDrawn="1"/>
            </p:nvSpPr>
            <p:spPr bwMode="auto">
              <a:xfrm>
                <a:off x="6086475" y="6675438"/>
                <a:ext cx="500063" cy="496887"/>
              </a:xfrm>
              <a:custGeom>
                <a:avLst/>
                <a:gdLst>
                  <a:gd name="T0" fmla="*/ 136 w 136"/>
                  <a:gd name="T1" fmla="*/ 0 h 135"/>
                  <a:gd name="T2" fmla="*/ 0 w 136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6" h="135">
                    <a:moveTo>
                      <a:pt x="136" y="0"/>
                    </a:moveTo>
                    <a:cubicBezTo>
                      <a:pt x="61" y="0"/>
                      <a:pt x="0" y="61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9" name="Freeform 818"/>
              <p:cNvSpPr>
                <a:spLocks/>
              </p:cNvSpPr>
              <p:nvPr userDrawn="1"/>
            </p:nvSpPr>
            <p:spPr bwMode="auto">
              <a:xfrm>
                <a:off x="6135687" y="6723063"/>
                <a:ext cx="450850" cy="449262"/>
              </a:xfrm>
              <a:custGeom>
                <a:avLst/>
                <a:gdLst>
                  <a:gd name="T0" fmla="*/ 123 w 123"/>
                  <a:gd name="T1" fmla="*/ 0 h 122"/>
                  <a:gd name="T2" fmla="*/ 0 w 123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3" h="122">
                    <a:moveTo>
                      <a:pt x="123" y="0"/>
                    </a:moveTo>
                    <a:cubicBezTo>
                      <a:pt x="55" y="0"/>
                      <a:pt x="0" y="55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80" name="Freeform 819"/>
              <p:cNvSpPr>
                <a:spLocks/>
              </p:cNvSpPr>
              <p:nvPr userDrawn="1"/>
            </p:nvSpPr>
            <p:spPr bwMode="auto">
              <a:xfrm>
                <a:off x="6183312" y="6772275"/>
                <a:ext cx="403225" cy="400050"/>
              </a:xfrm>
              <a:custGeom>
                <a:avLst/>
                <a:gdLst>
                  <a:gd name="T0" fmla="*/ 110 w 110"/>
                  <a:gd name="T1" fmla="*/ 0 h 109"/>
                  <a:gd name="T2" fmla="*/ 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110" y="0"/>
                    </a:moveTo>
                    <a:cubicBezTo>
                      <a:pt x="49" y="0"/>
                      <a:pt x="0" y="49"/>
                      <a:pt x="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81" name="Freeform 820"/>
              <p:cNvSpPr>
                <a:spLocks/>
              </p:cNvSpPr>
              <p:nvPr userDrawn="1"/>
            </p:nvSpPr>
            <p:spPr bwMode="auto">
              <a:xfrm>
                <a:off x="6230937" y="6819900"/>
                <a:ext cx="355600" cy="352425"/>
              </a:xfrm>
              <a:custGeom>
                <a:avLst/>
                <a:gdLst>
                  <a:gd name="T0" fmla="*/ 97 w 97"/>
                  <a:gd name="T1" fmla="*/ 0 h 96"/>
                  <a:gd name="T2" fmla="*/ 0 w 97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97" y="0"/>
                    </a:moveTo>
                    <a:cubicBezTo>
                      <a:pt x="43" y="0"/>
                      <a:pt x="0" y="43"/>
                      <a:pt x="0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82" name="Freeform 821"/>
              <p:cNvSpPr>
                <a:spLocks/>
              </p:cNvSpPr>
              <p:nvPr userDrawn="1"/>
            </p:nvSpPr>
            <p:spPr bwMode="auto">
              <a:xfrm>
                <a:off x="6278562" y="6867525"/>
                <a:ext cx="307975" cy="304800"/>
              </a:xfrm>
              <a:custGeom>
                <a:avLst/>
                <a:gdLst>
                  <a:gd name="T0" fmla="*/ 84 w 84"/>
                  <a:gd name="T1" fmla="*/ 0 h 83"/>
                  <a:gd name="T2" fmla="*/ 0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84" y="0"/>
                    </a:moveTo>
                    <a:cubicBezTo>
                      <a:pt x="37" y="0"/>
                      <a:pt x="0" y="37"/>
                      <a:pt x="0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83" name="Freeform 822"/>
              <p:cNvSpPr>
                <a:spLocks/>
              </p:cNvSpPr>
              <p:nvPr userDrawn="1"/>
            </p:nvSpPr>
            <p:spPr bwMode="auto">
              <a:xfrm>
                <a:off x="6326187" y="6915150"/>
                <a:ext cx="260350" cy="257175"/>
              </a:xfrm>
              <a:custGeom>
                <a:avLst/>
                <a:gdLst>
                  <a:gd name="T0" fmla="*/ 71 w 71"/>
                  <a:gd name="T1" fmla="*/ 0 h 70"/>
                  <a:gd name="T2" fmla="*/ 0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71" y="0"/>
                    </a:moveTo>
                    <a:cubicBezTo>
                      <a:pt x="31" y="0"/>
                      <a:pt x="0" y="31"/>
                      <a:pt x="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89" name="Freeform 828"/>
              <p:cNvSpPr>
                <a:spLocks/>
              </p:cNvSpPr>
              <p:nvPr userDrawn="1"/>
            </p:nvSpPr>
            <p:spPr bwMode="auto">
              <a:xfrm>
                <a:off x="5616575" y="52339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0" name="Freeform 829"/>
              <p:cNvSpPr>
                <a:spLocks/>
              </p:cNvSpPr>
              <p:nvPr userDrawn="1"/>
            </p:nvSpPr>
            <p:spPr bwMode="auto">
              <a:xfrm>
                <a:off x="5616575" y="52816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1" name="Freeform 830"/>
              <p:cNvSpPr>
                <a:spLocks/>
              </p:cNvSpPr>
              <p:nvPr userDrawn="1"/>
            </p:nvSpPr>
            <p:spPr bwMode="auto">
              <a:xfrm>
                <a:off x="5616575" y="5329238"/>
                <a:ext cx="874713" cy="876300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6"/>
                      <a:pt x="13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2" name="Freeform 831"/>
              <p:cNvSpPr>
                <a:spLocks/>
              </p:cNvSpPr>
              <p:nvPr userDrawn="1"/>
            </p:nvSpPr>
            <p:spPr bwMode="auto">
              <a:xfrm>
                <a:off x="5616575" y="5373688"/>
                <a:ext cx="827088" cy="831850"/>
              </a:xfrm>
              <a:custGeom>
                <a:avLst/>
                <a:gdLst>
                  <a:gd name="T0" fmla="*/ 225 w 225"/>
                  <a:gd name="T1" fmla="*/ 226 h 226"/>
                  <a:gd name="T2" fmla="*/ 0 w 225"/>
                  <a:gd name="T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6">
                    <a:moveTo>
                      <a:pt x="225" y="226"/>
                    </a:moveTo>
                    <a:cubicBezTo>
                      <a:pt x="225" y="101"/>
                      <a:pt x="12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3" name="Freeform 832"/>
              <p:cNvSpPr>
                <a:spLocks/>
              </p:cNvSpPr>
              <p:nvPr userDrawn="1"/>
            </p:nvSpPr>
            <p:spPr bwMode="auto">
              <a:xfrm>
                <a:off x="5616575" y="5421313"/>
                <a:ext cx="779463" cy="784225"/>
              </a:xfrm>
              <a:custGeom>
                <a:avLst/>
                <a:gdLst>
                  <a:gd name="T0" fmla="*/ 212 w 212"/>
                  <a:gd name="T1" fmla="*/ 213 h 213"/>
                  <a:gd name="T2" fmla="*/ 0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212" y="213"/>
                    </a:moveTo>
                    <a:cubicBezTo>
                      <a:pt x="212" y="95"/>
                      <a:pt x="11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4" name="Freeform 833"/>
              <p:cNvSpPr>
                <a:spLocks/>
              </p:cNvSpPr>
              <p:nvPr userDrawn="1"/>
            </p:nvSpPr>
            <p:spPr bwMode="auto">
              <a:xfrm>
                <a:off x="5616575" y="5468938"/>
                <a:ext cx="731838" cy="736600"/>
              </a:xfrm>
              <a:custGeom>
                <a:avLst/>
                <a:gdLst>
                  <a:gd name="T0" fmla="*/ 199 w 199"/>
                  <a:gd name="T1" fmla="*/ 200 h 200"/>
                  <a:gd name="T2" fmla="*/ 0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200"/>
                    </a:moveTo>
                    <a:cubicBezTo>
                      <a:pt x="199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5" name="Freeform 834"/>
              <p:cNvSpPr>
                <a:spLocks/>
              </p:cNvSpPr>
              <p:nvPr userDrawn="1"/>
            </p:nvSpPr>
            <p:spPr bwMode="auto">
              <a:xfrm>
                <a:off x="5616575" y="5516563"/>
                <a:ext cx="684213" cy="688975"/>
              </a:xfrm>
              <a:custGeom>
                <a:avLst/>
                <a:gdLst>
                  <a:gd name="T0" fmla="*/ 186 w 186"/>
                  <a:gd name="T1" fmla="*/ 187 h 187"/>
                  <a:gd name="T2" fmla="*/ 0 w 186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186" y="187"/>
                    </a:moveTo>
                    <a:cubicBezTo>
                      <a:pt x="186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6" name="Freeform 835"/>
              <p:cNvSpPr>
                <a:spLocks/>
              </p:cNvSpPr>
              <p:nvPr userDrawn="1"/>
            </p:nvSpPr>
            <p:spPr bwMode="auto">
              <a:xfrm>
                <a:off x="5616575" y="5564188"/>
                <a:ext cx="636588" cy="641350"/>
              </a:xfrm>
              <a:custGeom>
                <a:avLst/>
                <a:gdLst>
                  <a:gd name="T0" fmla="*/ 173 w 173"/>
                  <a:gd name="T1" fmla="*/ 174 h 174"/>
                  <a:gd name="T2" fmla="*/ 0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173" y="174"/>
                    </a:moveTo>
                    <a:cubicBezTo>
                      <a:pt x="173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7" name="Freeform 836"/>
              <p:cNvSpPr>
                <a:spLocks/>
              </p:cNvSpPr>
              <p:nvPr userDrawn="1"/>
            </p:nvSpPr>
            <p:spPr bwMode="auto">
              <a:xfrm>
                <a:off x="5616575" y="5613400"/>
                <a:ext cx="592138" cy="592137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8" name="Freeform 837"/>
              <p:cNvSpPr>
                <a:spLocks/>
              </p:cNvSpPr>
              <p:nvPr userDrawn="1"/>
            </p:nvSpPr>
            <p:spPr bwMode="auto">
              <a:xfrm>
                <a:off x="5616575" y="5661025"/>
                <a:ext cx="544513" cy="544512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9" name="Freeform 838"/>
              <p:cNvSpPr>
                <a:spLocks/>
              </p:cNvSpPr>
              <p:nvPr userDrawn="1"/>
            </p:nvSpPr>
            <p:spPr bwMode="auto">
              <a:xfrm>
                <a:off x="5616575" y="5708650"/>
                <a:ext cx="496888" cy="496887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0" name="Freeform 839"/>
              <p:cNvSpPr>
                <a:spLocks/>
              </p:cNvSpPr>
              <p:nvPr userDrawn="1"/>
            </p:nvSpPr>
            <p:spPr bwMode="auto">
              <a:xfrm>
                <a:off x="5616575" y="5753100"/>
                <a:ext cx="449263" cy="452437"/>
              </a:xfrm>
              <a:custGeom>
                <a:avLst/>
                <a:gdLst>
                  <a:gd name="T0" fmla="*/ 122 w 122"/>
                  <a:gd name="T1" fmla="*/ 123 h 123"/>
                  <a:gd name="T2" fmla="*/ 0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122" y="123"/>
                    </a:moveTo>
                    <a:cubicBezTo>
                      <a:pt x="122" y="55"/>
                      <a:pt x="6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1" name="Freeform 840"/>
              <p:cNvSpPr>
                <a:spLocks/>
              </p:cNvSpPr>
              <p:nvPr userDrawn="1"/>
            </p:nvSpPr>
            <p:spPr bwMode="auto">
              <a:xfrm>
                <a:off x="5616575" y="5800725"/>
                <a:ext cx="400050" cy="404812"/>
              </a:xfrm>
              <a:custGeom>
                <a:avLst/>
                <a:gdLst>
                  <a:gd name="T0" fmla="*/ 109 w 109"/>
                  <a:gd name="T1" fmla="*/ 110 h 110"/>
                  <a:gd name="T2" fmla="*/ 0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110"/>
                    </a:moveTo>
                    <a:cubicBezTo>
                      <a:pt x="109" y="49"/>
                      <a:pt x="6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2" name="Freeform 841"/>
              <p:cNvSpPr>
                <a:spLocks/>
              </p:cNvSpPr>
              <p:nvPr userDrawn="1"/>
            </p:nvSpPr>
            <p:spPr bwMode="auto">
              <a:xfrm>
                <a:off x="5616575" y="5848350"/>
                <a:ext cx="352425" cy="357187"/>
              </a:xfrm>
              <a:custGeom>
                <a:avLst/>
                <a:gdLst>
                  <a:gd name="T0" fmla="*/ 96 w 96"/>
                  <a:gd name="T1" fmla="*/ 97 h 97"/>
                  <a:gd name="T2" fmla="*/ 0 w 96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96" y="97"/>
                    </a:moveTo>
                    <a:cubicBezTo>
                      <a:pt x="96" y="43"/>
                      <a:pt x="5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3" name="Freeform 842"/>
              <p:cNvSpPr>
                <a:spLocks/>
              </p:cNvSpPr>
              <p:nvPr userDrawn="1"/>
            </p:nvSpPr>
            <p:spPr bwMode="auto">
              <a:xfrm>
                <a:off x="5616575" y="5895975"/>
                <a:ext cx="304800" cy="309562"/>
              </a:xfrm>
              <a:custGeom>
                <a:avLst/>
                <a:gdLst>
                  <a:gd name="T0" fmla="*/ 83 w 83"/>
                  <a:gd name="T1" fmla="*/ 84 h 84"/>
                  <a:gd name="T2" fmla="*/ 0 w 83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83" y="84"/>
                    </a:moveTo>
                    <a:cubicBezTo>
                      <a:pt x="83" y="37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4" name="Freeform 843"/>
              <p:cNvSpPr>
                <a:spLocks/>
              </p:cNvSpPr>
              <p:nvPr userDrawn="1"/>
            </p:nvSpPr>
            <p:spPr bwMode="auto">
              <a:xfrm>
                <a:off x="5616575" y="5943600"/>
                <a:ext cx="260350" cy="261937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1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5" name="Freeform 844"/>
              <p:cNvSpPr>
                <a:spLocks/>
              </p:cNvSpPr>
              <p:nvPr userDrawn="1"/>
            </p:nvSpPr>
            <p:spPr bwMode="auto">
              <a:xfrm>
                <a:off x="5616575" y="5991225"/>
                <a:ext cx="212725" cy="214312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6" name="Freeform 845"/>
              <p:cNvSpPr>
                <a:spLocks/>
              </p:cNvSpPr>
              <p:nvPr userDrawn="1"/>
            </p:nvSpPr>
            <p:spPr bwMode="auto">
              <a:xfrm>
                <a:off x="5616575" y="6038850"/>
                <a:ext cx="165100" cy="166687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7" name="Freeform 846"/>
              <p:cNvSpPr>
                <a:spLocks/>
              </p:cNvSpPr>
              <p:nvPr userDrawn="1"/>
            </p:nvSpPr>
            <p:spPr bwMode="auto">
              <a:xfrm>
                <a:off x="5616575" y="6083300"/>
                <a:ext cx="117475" cy="122237"/>
              </a:xfrm>
              <a:custGeom>
                <a:avLst/>
                <a:gdLst>
                  <a:gd name="T0" fmla="*/ 32 w 32"/>
                  <a:gd name="T1" fmla="*/ 33 h 33"/>
                  <a:gd name="T2" fmla="*/ 0 w 32"/>
                  <a:gd name="T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3">
                    <a:moveTo>
                      <a:pt x="32" y="33"/>
                    </a:moveTo>
                    <a:cubicBezTo>
                      <a:pt x="32" y="15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8" name="Freeform 847"/>
              <p:cNvSpPr>
                <a:spLocks/>
              </p:cNvSpPr>
              <p:nvPr userDrawn="1"/>
            </p:nvSpPr>
            <p:spPr bwMode="auto">
              <a:xfrm>
                <a:off x="5616575" y="6130925"/>
                <a:ext cx="69850" cy="74612"/>
              </a:xfrm>
              <a:custGeom>
                <a:avLst/>
                <a:gdLst>
                  <a:gd name="T0" fmla="*/ 19 w 19"/>
                  <a:gd name="T1" fmla="*/ 20 h 20"/>
                  <a:gd name="T2" fmla="*/ 0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19" y="20"/>
                    </a:moveTo>
                    <a:cubicBezTo>
                      <a:pt x="19" y="9"/>
                      <a:pt x="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9" name="Freeform 848"/>
              <p:cNvSpPr>
                <a:spLocks/>
              </p:cNvSpPr>
              <p:nvPr userDrawn="1"/>
            </p:nvSpPr>
            <p:spPr bwMode="auto">
              <a:xfrm>
                <a:off x="5616575" y="6178550"/>
                <a:ext cx="22225" cy="26987"/>
              </a:xfrm>
              <a:custGeom>
                <a:avLst/>
                <a:gdLst>
                  <a:gd name="T0" fmla="*/ 6 w 6"/>
                  <a:gd name="T1" fmla="*/ 7 h 7"/>
                  <a:gd name="T2" fmla="*/ 0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7"/>
                    </a:moveTo>
                    <a:cubicBezTo>
                      <a:pt x="6" y="3"/>
                      <a:pt x="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0" name="Freeform 849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1" name="Freeform 850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2" name="Freeform 851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874713" cy="874712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1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3" name="Freeform 852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827088" cy="827087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4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4" name="Freeform 853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779463" cy="779462"/>
              </a:xfrm>
              <a:custGeom>
                <a:avLst/>
                <a:gdLst>
                  <a:gd name="T0" fmla="*/ 0 w 212"/>
                  <a:gd name="T1" fmla="*/ 212 h 212"/>
                  <a:gd name="T2" fmla="*/ 212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212"/>
                    </a:moveTo>
                    <a:cubicBezTo>
                      <a:pt x="117" y="212"/>
                      <a:pt x="212" y="117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5" name="Freeform 854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731838" cy="731837"/>
              </a:xfrm>
              <a:custGeom>
                <a:avLst/>
                <a:gdLst>
                  <a:gd name="T0" fmla="*/ 0 w 199"/>
                  <a:gd name="T1" fmla="*/ 199 h 199"/>
                  <a:gd name="T2" fmla="*/ 199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199"/>
                    </a:moveTo>
                    <a:cubicBezTo>
                      <a:pt x="110" y="199"/>
                      <a:pt x="199" y="110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6" name="Freeform 855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687388" cy="684212"/>
              </a:xfrm>
              <a:custGeom>
                <a:avLst/>
                <a:gdLst>
                  <a:gd name="T0" fmla="*/ 0 w 187"/>
                  <a:gd name="T1" fmla="*/ 186 h 186"/>
                  <a:gd name="T2" fmla="*/ 187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186"/>
                    </a:moveTo>
                    <a:cubicBezTo>
                      <a:pt x="103" y="186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7" name="Freeform 856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639763" cy="639762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8" name="Freeform 857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592138" cy="592137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9" name="Freeform 858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544513" cy="544512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0" name="Freeform 859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495300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1" name="Freeform 860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447675" cy="449262"/>
              </a:xfrm>
              <a:custGeom>
                <a:avLst/>
                <a:gdLst>
                  <a:gd name="T0" fmla="*/ 0 w 122"/>
                  <a:gd name="T1" fmla="*/ 122 h 122"/>
                  <a:gd name="T2" fmla="*/ 122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122"/>
                    </a:moveTo>
                    <a:cubicBezTo>
                      <a:pt x="68" y="122"/>
                      <a:pt x="122" y="67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2" name="Freeform 861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400050" cy="401637"/>
              </a:xfrm>
              <a:custGeom>
                <a:avLst/>
                <a:gdLst>
                  <a:gd name="T0" fmla="*/ 0 w 109"/>
                  <a:gd name="T1" fmla="*/ 109 h 109"/>
                  <a:gd name="T2" fmla="*/ 109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109"/>
                    </a:moveTo>
                    <a:cubicBezTo>
                      <a:pt x="60" y="109"/>
                      <a:pt x="109" y="60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3" name="Freeform 862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355600" cy="352425"/>
              </a:xfrm>
              <a:custGeom>
                <a:avLst/>
                <a:gdLst>
                  <a:gd name="T0" fmla="*/ 0 w 97"/>
                  <a:gd name="T1" fmla="*/ 96 h 96"/>
                  <a:gd name="T2" fmla="*/ 97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96"/>
                    </a:moveTo>
                    <a:cubicBezTo>
                      <a:pt x="53" y="96"/>
                      <a:pt x="97" y="53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4" name="Freeform 863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307975" cy="304800"/>
              </a:xfrm>
              <a:custGeom>
                <a:avLst/>
                <a:gdLst>
                  <a:gd name="T0" fmla="*/ 0 w 84"/>
                  <a:gd name="T1" fmla="*/ 83 h 83"/>
                  <a:gd name="T2" fmla="*/ 84 w 84"/>
                  <a:gd name="T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83"/>
                    </a:moveTo>
                    <a:cubicBezTo>
                      <a:pt x="46" y="83"/>
                      <a:pt x="84" y="46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5" name="Freeform 864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260350" cy="260350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6" name="Freeform 865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212725" cy="212725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7" name="Freeform 866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165100" cy="165100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8" name="Freeform 867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9" name="Freeform 868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69850" cy="69850"/>
              </a:xfrm>
              <a:custGeom>
                <a:avLst/>
                <a:gdLst>
                  <a:gd name="T0" fmla="*/ 0 w 19"/>
                  <a:gd name="T1" fmla="*/ 19 h 19"/>
                  <a:gd name="T2" fmla="*/ 19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19"/>
                    </a:moveTo>
                    <a:cubicBezTo>
                      <a:pt x="11" y="19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0" name="Freeform 869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22225" cy="22225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cubicBezTo>
                      <a:pt x="4" y="6"/>
                      <a:pt x="6" y="3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1" name="Freeform 870"/>
              <p:cNvSpPr>
                <a:spLocks/>
              </p:cNvSpPr>
              <p:nvPr userDrawn="1"/>
            </p:nvSpPr>
            <p:spPr bwMode="auto">
              <a:xfrm>
                <a:off x="6586537" y="6205538"/>
                <a:ext cx="966788" cy="966787"/>
              </a:xfrm>
              <a:custGeom>
                <a:avLst/>
                <a:gdLst>
                  <a:gd name="T0" fmla="*/ 0 w 263"/>
                  <a:gd name="T1" fmla="*/ 0 h 263"/>
                  <a:gd name="T2" fmla="*/ 263 w 263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3">
                    <a:moveTo>
                      <a:pt x="0" y="0"/>
                    </a:moveTo>
                    <a:cubicBezTo>
                      <a:pt x="0" y="145"/>
                      <a:pt x="117" y="263"/>
                      <a:pt x="263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2" name="Freeform 871"/>
              <p:cNvSpPr>
                <a:spLocks/>
              </p:cNvSpPr>
              <p:nvPr userDrawn="1"/>
            </p:nvSpPr>
            <p:spPr bwMode="auto">
              <a:xfrm>
                <a:off x="6630987" y="6205538"/>
                <a:ext cx="922338" cy="919162"/>
              </a:xfrm>
              <a:custGeom>
                <a:avLst/>
                <a:gdLst>
                  <a:gd name="T0" fmla="*/ 0 w 251"/>
                  <a:gd name="T1" fmla="*/ 0 h 250"/>
                  <a:gd name="T2" fmla="*/ 251 w 251"/>
                  <a:gd name="T3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0">
                    <a:moveTo>
                      <a:pt x="0" y="0"/>
                    </a:moveTo>
                    <a:cubicBezTo>
                      <a:pt x="0" y="138"/>
                      <a:pt x="113" y="250"/>
                      <a:pt x="251" y="25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3" name="Freeform 872"/>
              <p:cNvSpPr>
                <a:spLocks/>
              </p:cNvSpPr>
              <p:nvPr userDrawn="1"/>
            </p:nvSpPr>
            <p:spPr bwMode="auto">
              <a:xfrm>
                <a:off x="6678612" y="6205538"/>
                <a:ext cx="874713" cy="874712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1"/>
                      <a:pt x="107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4" name="Freeform 873"/>
              <p:cNvSpPr>
                <a:spLocks/>
              </p:cNvSpPr>
              <p:nvPr userDrawn="1"/>
            </p:nvSpPr>
            <p:spPr bwMode="auto">
              <a:xfrm>
                <a:off x="6726237" y="6205538"/>
                <a:ext cx="827088" cy="827087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4"/>
                      <a:pt x="101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5" name="Freeform 874"/>
              <p:cNvSpPr>
                <a:spLocks/>
              </p:cNvSpPr>
              <p:nvPr userDrawn="1"/>
            </p:nvSpPr>
            <p:spPr bwMode="auto">
              <a:xfrm>
                <a:off x="6773862" y="6205538"/>
                <a:ext cx="779463" cy="779462"/>
              </a:xfrm>
              <a:custGeom>
                <a:avLst/>
                <a:gdLst>
                  <a:gd name="T0" fmla="*/ 0 w 212"/>
                  <a:gd name="T1" fmla="*/ 0 h 212"/>
                  <a:gd name="T2" fmla="*/ 212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0"/>
                    </a:moveTo>
                    <a:cubicBezTo>
                      <a:pt x="0" y="117"/>
                      <a:pt x="95" y="212"/>
                      <a:pt x="212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6" name="Freeform 875"/>
              <p:cNvSpPr>
                <a:spLocks/>
              </p:cNvSpPr>
              <p:nvPr userDrawn="1"/>
            </p:nvSpPr>
            <p:spPr bwMode="auto">
              <a:xfrm>
                <a:off x="6821487" y="6205538"/>
                <a:ext cx="731838" cy="731837"/>
              </a:xfrm>
              <a:custGeom>
                <a:avLst/>
                <a:gdLst>
                  <a:gd name="T0" fmla="*/ 0 w 199"/>
                  <a:gd name="T1" fmla="*/ 0 h 199"/>
                  <a:gd name="T2" fmla="*/ 199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0"/>
                    </a:moveTo>
                    <a:cubicBezTo>
                      <a:pt x="0" y="110"/>
                      <a:pt x="89" y="199"/>
                      <a:pt x="199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7" name="Freeform 876"/>
              <p:cNvSpPr>
                <a:spLocks/>
              </p:cNvSpPr>
              <p:nvPr userDrawn="1"/>
            </p:nvSpPr>
            <p:spPr bwMode="auto">
              <a:xfrm>
                <a:off x="6870700" y="6205538"/>
                <a:ext cx="682625" cy="684212"/>
              </a:xfrm>
              <a:custGeom>
                <a:avLst/>
                <a:gdLst>
                  <a:gd name="T0" fmla="*/ 0 w 186"/>
                  <a:gd name="T1" fmla="*/ 0 h 186"/>
                  <a:gd name="T2" fmla="*/ 186 w 186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0" y="0"/>
                    </a:moveTo>
                    <a:cubicBezTo>
                      <a:pt x="0" y="103"/>
                      <a:pt x="83" y="186"/>
                      <a:pt x="186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8" name="Freeform 877"/>
              <p:cNvSpPr>
                <a:spLocks/>
              </p:cNvSpPr>
              <p:nvPr userDrawn="1"/>
            </p:nvSpPr>
            <p:spPr bwMode="auto">
              <a:xfrm>
                <a:off x="6918325" y="6205538"/>
                <a:ext cx="635000" cy="636587"/>
              </a:xfrm>
              <a:custGeom>
                <a:avLst/>
                <a:gdLst>
                  <a:gd name="T0" fmla="*/ 0 w 173"/>
                  <a:gd name="T1" fmla="*/ 0 h 173"/>
                  <a:gd name="T2" fmla="*/ 173 w 173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3">
                    <a:moveTo>
                      <a:pt x="0" y="0"/>
                    </a:moveTo>
                    <a:cubicBezTo>
                      <a:pt x="0" y="96"/>
                      <a:pt x="77" y="173"/>
                      <a:pt x="173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9" name="Freeform 878"/>
              <p:cNvSpPr>
                <a:spLocks/>
              </p:cNvSpPr>
              <p:nvPr userDrawn="1"/>
            </p:nvSpPr>
            <p:spPr bwMode="auto">
              <a:xfrm>
                <a:off x="6961187" y="6205538"/>
                <a:ext cx="592138" cy="588962"/>
              </a:xfrm>
              <a:custGeom>
                <a:avLst/>
                <a:gdLst>
                  <a:gd name="T0" fmla="*/ 0 w 161"/>
                  <a:gd name="T1" fmla="*/ 0 h 160"/>
                  <a:gd name="T2" fmla="*/ 161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0" y="0"/>
                    </a:moveTo>
                    <a:cubicBezTo>
                      <a:pt x="0" y="88"/>
                      <a:pt x="72" y="160"/>
                      <a:pt x="161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0" name="Freeform 879"/>
              <p:cNvSpPr>
                <a:spLocks/>
              </p:cNvSpPr>
              <p:nvPr userDrawn="1"/>
            </p:nvSpPr>
            <p:spPr bwMode="auto">
              <a:xfrm>
                <a:off x="7010400" y="6205538"/>
                <a:ext cx="542925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1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1" name="Freeform 880"/>
              <p:cNvSpPr>
                <a:spLocks/>
              </p:cNvSpPr>
              <p:nvPr userDrawn="1"/>
            </p:nvSpPr>
            <p:spPr bwMode="auto">
              <a:xfrm>
                <a:off x="7058025" y="62055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4"/>
                      <a:pt x="61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2" name="Freeform 881"/>
              <p:cNvSpPr>
                <a:spLocks/>
              </p:cNvSpPr>
              <p:nvPr userDrawn="1"/>
            </p:nvSpPr>
            <p:spPr bwMode="auto">
              <a:xfrm>
                <a:off x="7105650" y="6205538"/>
                <a:ext cx="447675" cy="447675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7"/>
                      <a:pt x="55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3" name="Freeform 882"/>
              <p:cNvSpPr>
                <a:spLocks/>
              </p:cNvSpPr>
              <p:nvPr userDrawn="1"/>
            </p:nvSpPr>
            <p:spPr bwMode="auto">
              <a:xfrm>
                <a:off x="7153275" y="6205538"/>
                <a:ext cx="400050" cy="400050"/>
              </a:xfrm>
              <a:custGeom>
                <a:avLst/>
                <a:gdLst>
                  <a:gd name="T0" fmla="*/ 0 w 109"/>
                  <a:gd name="T1" fmla="*/ 0 h 109"/>
                  <a:gd name="T2" fmla="*/ 109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0"/>
                    </a:moveTo>
                    <a:cubicBezTo>
                      <a:pt x="0" y="60"/>
                      <a:pt x="49" y="109"/>
                      <a:pt x="109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4" name="Freeform 883"/>
              <p:cNvSpPr>
                <a:spLocks/>
              </p:cNvSpPr>
              <p:nvPr userDrawn="1"/>
            </p:nvSpPr>
            <p:spPr bwMode="auto">
              <a:xfrm>
                <a:off x="7200900" y="6205538"/>
                <a:ext cx="352425" cy="352425"/>
              </a:xfrm>
              <a:custGeom>
                <a:avLst/>
                <a:gdLst>
                  <a:gd name="T0" fmla="*/ 0 w 96"/>
                  <a:gd name="T1" fmla="*/ 0 h 96"/>
                  <a:gd name="T2" fmla="*/ 96 w 96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0" y="0"/>
                    </a:moveTo>
                    <a:cubicBezTo>
                      <a:pt x="0" y="53"/>
                      <a:pt x="43" y="96"/>
                      <a:pt x="96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5" name="Freeform 884"/>
              <p:cNvSpPr>
                <a:spLocks/>
              </p:cNvSpPr>
              <p:nvPr userDrawn="1"/>
            </p:nvSpPr>
            <p:spPr bwMode="auto">
              <a:xfrm>
                <a:off x="7248525" y="6205538"/>
                <a:ext cx="304800" cy="304800"/>
              </a:xfrm>
              <a:custGeom>
                <a:avLst/>
                <a:gdLst>
                  <a:gd name="T0" fmla="*/ 0 w 83"/>
                  <a:gd name="T1" fmla="*/ 0 h 83"/>
                  <a:gd name="T2" fmla="*/ 83 w 83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3">
                    <a:moveTo>
                      <a:pt x="0" y="0"/>
                    </a:moveTo>
                    <a:cubicBezTo>
                      <a:pt x="0" y="46"/>
                      <a:pt x="37" y="83"/>
                      <a:pt x="83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6" name="Freeform 885"/>
              <p:cNvSpPr>
                <a:spLocks/>
              </p:cNvSpPr>
              <p:nvPr userDrawn="1"/>
            </p:nvSpPr>
            <p:spPr bwMode="auto">
              <a:xfrm>
                <a:off x="7296150" y="6205538"/>
                <a:ext cx="257175" cy="257175"/>
              </a:xfrm>
              <a:custGeom>
                <a:avLst/>
                <a:gdLst>
                  <a:gd name="T0" fmla="*/ 0 w 70"/>
                  <a:gd name="T1" fmla="*/ 0 h 70"/>
                  <a:gd name="T2" fmla="*/ 70 w 70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0">
                    <a:moveTo>
                      <a:pt x="0" y="0"/>
                    </a:moveTo>
                    <a:cubicBezTo>
                      <a:pt x="0" y="39"/>
                      <a:pt x="31" y="70"/>
                      <a:pt x="7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7" name="Freeform 886"/>
              <p:cNvSpPr>
                <a:spLocks/>
              </p:cNvSpPr>
              <p:nvPr userDrawn="1"/>
            </p:nvSpPr>
            <p:spPr bwMode="auto">
              <a:xfrm>
                <a:off x="7340600" y="6205538"/>
                <a:ext cx="212725" cy="209550"/>
              </a:xfrm>
              <a:custGeom>
                <a:avLst/>
                <a:gdLst>
                  <a:gd name="T0" fmla="*/ 0 w 58"/>
                  <a:gd name="T1" fmla="*/ 0 h 57"/>
                  <a:gd name="T2" fmla="*/ 58 w 58"/>
                  <a:gd name="T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7">
                    <a:moveTo>
                      <a:pt x="0" y="0"/>
                    </a:moveTo>
                    <a:cubicBezTo>
                      <a:pt x="0" y="32"/>
                      <a:pt x="26" y="57"/>
                      <a:pt x="58" y="5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8" name="Freeform 887"/>
              <p:cNvSpPr>
                <a:spLocks/>
              </p:cNvSpPr>
              <p:nvPr userDrawn="1"/>
            </p:nvSpPr>
            <p:spPr bwMode="auto">
              <a:xfrm>
                <a:off x="7388225" y="62055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4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9" name="Freeform 888"/>
              <p:cNvSpPr>
                <a:spLocks/>
              </p:cNvSpPr>
              <p:nvPr userDrawn="1"/>
            </p:nvSpPr>
            <p:spPr bwMode="auto">
              <a:xfrm>
                <a:off x="7435850" y="62055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7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0" name="Freeform 889"/>
              <p:cNvSpPr>
                <a:spLocks/>
              </p:cNvSpPr>
              <p:nvPr userDrawn="1"/>
            </p:nvSpPr>
            <p:spPr bwMode="auto">
              <a:xfrm>
                <a:off x="7483475" y="6205538"/>
                <a:ext cx="69850" cy="69850"/>
              </a:xfrm>
              <a:custGeom>
                <a:avLst/>
                <a:gdLst>
                  <a:gd name="T0" fmla="*/ 0 w 19"/>
                  <a:gd name="T1" fmla="*/ 0 h 19"/>
                  <a:gd name="T2" fmla="*/ 19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0"/>
                    </a:moveTo>
                    <a:cubicBezTo>
                      <a:pt x="0" y="10"/>
                      <a:pt x="9" y="19"/>
                      <a:pt x="19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1" name="Freeform 890"/>
              <p:cNvSpPr>
                <a:spLocks/>
              </p:cNvSpPr>
              <p:nvPr userDrawn="1"/>
            </p:nvSpPr>
            <p:spPr bwMode="auto">
              <a:xfrm>
                <a:off x="7531100" y="6205538"/>
                <a:ext cx="22225" cy="22225"/>
              </a:xfrm>
              <a:custGeom>
                <a:avLst/>
                <a:gdLst>
                  <a:gd name="T0" fmla="*/ 0 w 6"/>
                  <a:gd name="T1" fmla="*/ 0 h 6"/>
                  <a:gd name="T2" fmla="*/ 6 w 6"/>
                  <a:gd name="T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0" y="3"/>
                      <a:pt x="3" y="6"/>
                      <a:pt x="6" y="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2" name="Freeform 891"/>
              <p:cNvSpPr>
                <a:spLocks/>
              </p:cNvSpPr>
              <p:nvPr userDrawn="1"/>
            </p:nvSpPr>
            <p:spPr bwMode="auto">
              <a:xfrm>
                <a:off x="7553325" y="6205538"/>
                <a:ext cx="969963" cy="966787"/>
              </a:xfrm>
              <a:custGeom>
                <a:avLst/>
                <a:gdLst>
                  <a:gd name="T0" fmla="*/ 264 w 264"/>
                  <a:gd name="T1" fmla="*/ 0 h 263"/>
                  <a:gd name="T2" fmla="*/ 0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264" y="0"/>
                    </a:moveTo>
                    <a:cubicBezTo>
                      <a:pt x="118" y="0"/>
                      <a:pt x="0" y="118"/>
                      <a:pt x="0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3" name="Freeform 892"/>
              <p:cNvSpPr>
                <a:spLocks/>
              </p:cNvSpPr>
              <p:nvPr userDrawn="1"/>
            </p:nvSpPr>
            <p:spPr bwMode="auto">
              <a:xfrm>
                <a:off x="7600950" y="6249988"/>
                <a:ext cx="922338" cy="922337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3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4" name="Freeform 893"/>
              <p:cNvSpPr>
                <a:spLocks/>
              </p:cNvSpPr>
              <p:nvPr userDrawn="1"/>
            </p:nvSpPr>
            <p:spPr bwMode="auto">
              <a:xfrm>
                <a:off x="7648575" y="6297613"/>
                <a:ext cx="874713" cy="874712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7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5" name="Freeform 894"/>
              <p:cNvSpPr>
                <a:spLocks/>
              </p:cNvSpPr>
              <p:nvPr userDrawn="1"/>
            </p:nvSpPr>
            <p:spPr bwMode="auto">
              <a:xfrm>
                <a:off x="7696200" y="6345238"/>
                <a:ext cx="827088" cy="827087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1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6" name="Freeform 895"/>
              <p:cNvSpPr>
                <a:spLocks/>
              </p:cNvSpPr>
              <p:nvPr userDrawn="1"/>
            </p:nvSpPr>
            <p:spPr bwMode="auto">
              <a:xfrm>
                <a:off x="7745412" y="6392863"/>
                <a:ext cx="777875" cy="779462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7" name="Freeform 896"/>
              <p:cNvSpPr>
                <a:spLocks/>
              </p:cNvSpPr>
              <p:nvPr userDrawn="1"/>
            </p:nvSpPr>
            <p:spPr bwMode="auto">
              <a:xfrm>
                <a:off x="7793037" y="6440488"/>
                <a:ext cx="730250" cy="731837"/>
              </a:xfrm>
              <a:custGeom>
                <a:avLst/>
                <a:gdLst>
                  <a:gd name="T0" fmla="*/ 199 w 199"/>
                  <a:gd name="T1" fmla="*/ 0 h 199"/>
                  <a:gd name="T2" fmla="*/ 0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0"/>
                    </a:moveTo>
                    <a:cubicBezTo>
                      <a:pt x="89" y="0"/>
                      <a:pt x="0" y="89"/>
                      <a:pt x="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8" name="Freeform 897"/>
              <p:cNvSpPr>
                <a:spLocks/>
              </p:cNvSpPr>
              <p:nvPr userDrawn="1"/>
            </p:nvSpPr>
            <p:spPr bwMode="auto">
              <a:xfrm>
                <a:off x="7835900" y="6488113"/>
                <a:ext cx="687388" cy="684212"/>
              </a:xfrm>
              <a:custGeom>
                <a:avLst/>
                <a:gdLst>
                  <a:gd name="T0" fmla="*/ 187 w 187"/>
                  <a:gd name="T1" fmla="*/ 0 h 186"/>
                  <a:gd name="T2" fmla="*/ 0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0"/>
                    </a:moveTo>
                    <a:cubicBezTo>
                      <a:pt x="84" y="0"/>
                      <a:pt x="0" y="83"/>
                      <a:pt x="0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9" name="Freeform 898"/>
              <p:cNvSpPr>
                <a:spLocks/>
              </p:cNvSpPr>
              <p:nvPr userDrawn="1"/>
            </p:nvSpPr>
            <p:spPr bwMode="auto">
              <a:xfrm>
                <a:off x="7883525" y="6535738"/>
                <a:ext cx="639763" cy="636587"/>
              </a:xfrm>
              <a:custGeom>
                <a:avLst/>
                <a:gdLst>
                  <a:gd name="T0" fmla="*/ 174 w 174"/>
                  <a:gd name="T1" fmla="*/ 0 h 173"/>
                  <a:gd name="T2" fmla="*/ 0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174" y="0"/>
                    </a:moveTo>
                    <a:cubicBezTo>
                      <a:pt x="78" y="0"/>
                      <a:pt x="0" y="77"/>
                      <a:pt x="0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0" name="Freeform 899"/>
              <p:cNvSpPr>
                <a:spLocks/>
              </p:cNvSpPr>
              <p:nvPr userDrawn="1"/>
            </p:nvSpPr>
            <p:spPr bwMode="auto">
              <a:xfrm>
                <a:off x="7932737" y="6583363"/>
                <a:ext cx="590550" cy="588962"/>
              </a:xfrm>
              <a:custGeom>
                <a:avLst/>
                <a:gdLst>
                  <a:gd name="T0" fmla="*/ 161 w 161"/>
                  <a:gd name="T1" fmla="*/ 0 h 160"/>
                  <a:gd name="T2" fmla="*/ 0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161" y="0"/>
                    </a:moveTo>
                    <a:cubicBezTo>
                      <a:pt x="72" y="0"/>
                      <a:pt x="0" y="71"/>
                      <a:pt x="0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1" name="Freeform 900"/>
              <p:cNvSpPr>
                <a:spLocks/>
              </p:cNvSpPr>
              <p:nvPr userDrawn="1"/>
            </p:nvSpPr>
            <p:spPr bwMode="auto">
              <a:xfrm>
                <a:off x="7980362" y="6627813"/>
                <a:ext cx="542925" cy="544512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7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2" name="Freeform 901"/>
              <p:cNvSpPr>
                <a:spLocks/>
              </p:cNvSpPr>
              <p:nvPr userDrawn="1"/>
            </p:nvSpPr>
            <p:spPr bwMode="auto">
              <a:xfrm>
                <a:off x="8027987" y="6675438"/>
                <a:ext cx="495300" cy="496887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1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3" name="Freeform 902"/>
              <p:cNvSpPr>
                <a:spLocks/>
              </p:cNvSpPr>
              <p:nvPr userDrawn="1"/>
            </p:nvSpPr>
            <p:spPr bwMode="auto">
              <a:xfrm>
                <a:off x="8075612" y="6723063"/>
                <a:ext cx="447675" cy="449262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5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4" name="Freeform 903"/>
              <p:cNvSpPr>
                <a:spLocks/>
              </p:cNvSpPr>
              <p:nvPr userDrawn="1"/>
            </p:nvSpPr>
            <p:spPr bwMode="auto">
              <a:xfrm>
                <a:off x="8123237" y="6772275"/>
                <a:ext cx="400050" cy="400050"/>
              </a:xfrm>
              <a:custGeom>
                <a:avLst/>
                <a:gdLst>
                  <a:gd name="T0" fmla="*/ 109 w 109"/>
                  <a:gd name="T1" fmla="*/ 0 h 109"/>
                  <a:gd name="T2" fmla="*/ 0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0"/>
                    </a:moveTo>
                    <a:cubicBezTo>
                      <a:pt x="49" y="0"/>
                      <a:pt x="0" y="49"/>
                      <a:pt x="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5" name="Freeform 904"/>
              <p:cNvSpPr>
                <a:spLocks/>
              </p:cNvSpPr>
              <p:nvPr userDrawn="1"/>
            </p:nvSpPr>
            <p:spPr bwMode="auto">
              <a:xfrm>
                <a:off x="8170862" y="6819900"/>
                <a:ext cx="352425" cy="352425"/>
              </a:xfrm>
              <a:custGeom>
                <a:avLst/>
                <a:gdLst>
                  <a:gd name="T0" fmla="*/ 96 w 96"/>
                  <a:gd name="T1" fmla="*/ 0 h 96"/>
                  <a:gd name="T2" fmla="*/ 0 w 96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96" y="0"/>
                    </a:moveTo>
                    <a:cubicBezTo>
                      <a:pt x="43" y="0"/>
                      <a:pt x="0" y="43"/>
                      <a:pt x="0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6" name="Freeform 905"/>
              <p:cNvSpPr>
                <a:spLocks/>
              </p:cNvSpPr>
              <p:nvPr userDrawn="1"/>
            </p:nvSpPr>
            <p:spPr bwMode="auto">
              <a:xfrm>
                <a:off x="8215312" y="6867525"/>
                <a:ext cx="307975" cy="304800"/>
              </a:xfrm>
              <a:custGeom>
                <a:avLst/>
                <a:gdLst>
                  <a:gd name="T0" fmla="*/ 84 w 84"/>
                  <a:gd name="T1" fmla="*/ 0 h 83"/>
                  <a:gd name="T2" fmla="*/ 0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84" y="0"/>
                    </a:moveTo>
                    <a:cubicBezTo>
                      <a:pt x="38" y="0"/>
                      <a:pt x="0" y="37"/>
                      <a:pt x="0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7" name="Freeform 906"/>
              <p:cNvSpPr>
                <a:spLocks/>
              </p:cNvSpPr>
              <p:nvPr userDrawn="1"/>
            </p:nvSpPr>
            <p:spPr bwMode="auto">
              <a:xfrm>
                <a:off x="8262937" y="6915150"/>
                <a:ext cx="260350" cy="257175"/>
              </a:xfrm>
              <a:custGeom>
                <a:avLst/>
                <a:gdLst>
                  <a:gd name="T0" fmla="*/ 71 w 71"/>
                  <a:gd name="T1" fmla="*/ 0 h 70"/>
                  <a:gd name="T2" fmla="*/ 0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71" y="0"/>
                    </a:moveTo>
                    <a:cubicBezTo>
                      <a:pt x="32" y="0"/>
                      <a:pt x="0" y="31"/>
                      <a:pt x="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3" name="Freeform 912"/>
              <p:cNvSpPr>
                <a:spLocks/>
              </p:cNvSpPr>
              <p:nvPr userDrawn="1"/>
            </p:nvSpPr>
            <p:spPr bwMode="auto">
              <a:xfrm>
                <a:off x="7553325" y="52339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4" name="Freeform 913"/>
              <p:cNvSpPr>
                <a:spLocks/>
              </p:cNvSpPr>
              <p:nvPr userDrawn="1"/>
            </p:nvSpPr>
            <p:spPr bwMode="auto">
              <a:xfrm>
                <a:off x="7553325" y="52816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5" name="Freeform 914"/>
              <p:cNvSpPr>
                <a:spLocks/>
              </p:cNvSpPr>
              <p:nvPr userDrawn="1"/>
            </p:nvSpPr>
            <p:spPr bwMode="auto">
              <a:xfrm>
                <a:off x="7553325" y="5329238"/>
                <a:ext cx="874713" cy="876300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6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6" name="Freeform 915"/>
              <p:cNvSpPr>
                <a:spLocks/>
              </p:cNvSpPr>
              <p:nvPr userDrawn="1"/>
            </p:nvSpPr>
            <p:spPr bwMode="auto">
              <a:xfrm>
                <a:off x="7553325" y="5373688"/>
                <a:ext cx="827088" cy="831850"/>
              </a:xfrm>
              <a:custGeom>
                <a:avLst/>
                <a:gdLst>
                  <a:gd name="T0" fmla="*/ 225 w 225"/>
                  <a:gd name="T1" fmla="*/ 226 h 226"/>
                  <a:gd name="T2" fmla="*/ 0 w 225"/>
                  <a:gd name="T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6">
                    <a:moveTo>
                      <a:pt x="225" y="226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7" name="Freeform 916"/>
              <p:cNvSpPr>
                <a:spLocks/>
              </p:cNvSpPr>
              <p:nvPr userDrawn="1"/>
            </p:nvSpPr>
            <p:spPr bwMode="auto">
              <a:xfrm>
                <a:off x="7553325" y="5421313"/>
                <a:ext cx="782638" cy="784225"/>
              </a:xfrm>
              <a:custGeom>
                <a:avLst/>
                <a:gdLst>
                  <a:gd name="T0" fmla="*/ 213 w 213"/>
                  <a:gd name="T1" fmla="*/ 213 h 213"/>
                  <a:gd name="T2" fmla="*/ 0 w 213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3">
                    <a:moveTo>
                      <a:pt x="213" y="213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8" name="Freeform 917"/>
              <p:cNvSpPr>
                <a:spLocks/>
              </p:cNvSpPr>
              <p:nvPr userDrawn="1"/>
            </p:nvSpPr>
            <p:spPr bwMode="auto">
              <a:xfrm>
                <a:off x="7553325" y="5468938"/>
                <a:ext cx="735013" cy="736600"/>
              </a:xfrm>
              <a:custGeom>
                <a:avLst/>
                <a:gdLst>
                  <a:gd name="T0" fmla="*/ 200 w 200"/>
                  <a:gd name="T1" fmla="*/ 200 h 200"/>
                  <a:gd name="T2" fmla="*/ 0 w 200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200" y="200"/>
                    </a:moveTo>
                    <a:cubicBezTo>
                      <a:pt x="200" y="89"/>
                      <a:pt x="1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9" name="Freeform 918"/>
              <p:cNvSpPr>
                <a:spLocks/>
              </p:cNvSpPr>
              <p:nvPr userDrawn="1"/>
            </p:nvSpPr>
            <p:spPr bwMode="auto">
              <a:xfrm>
                <a:off x="7553325" y="5516563"/>
                <a:ext cx="687388" cy="688975"/>
              </a:xfrm>
              <a:custGeom>
                <a:avLst/>
                <a:gdLst>
                  <a:gd name="T0" fmla="*/ 187 w 187"/>
                  <a:gd name="T1" fmla="*/ 187 h 187"/>
                  <a:gd name="T2" fmla="*/ 0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187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0" name="Freeform 919"/>
              <p:cNvSpPr>
                <a:spLocks/>
              </p:cNvSpPr>
              <p:nvPr userDrawn="1"/>
            </p:nvSpPr>
            <p:spPr bwMode="auto">
              <a:xfrm>
                <a:off x="7553325" y="5564188"/>
                <a:ext cx="639763" cy="641350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1" name="Freeform 920"/>
              <p:cNvSpPr>
                <a:spLocks/>
              </p:cNvSpPr>
              <p:nvPr userDrawn="1"/>
            </p:nvSpPr>
            <p:spPr bwMode="auto">
              <a:xfrm>
                <a:off x="7553325" y="5613400"/>
                <a:ext cx="592138" cy="592137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2" name="Freeform 921"/>
              <p:cNvSpPr>
                <a:spLocks/>
              </p:cNvSpPr>
              <p:nvPr userDrawn="1"/>
            </p:nvSpPr>
            <p:spPr bwMode="auto">
              <a:xfrm>
                <a:off x="7553325" y="5661025"/>
                <a:ext cx="544513" cy="544512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3" name="Freeform 922"/>
              <p:cNvSpPr>
                <a:spLocks/>
              </p:cNvSpPr>
              <p:nvPr userDrawn="1"/>
            </p:nvSpPr>
            <p:spPr bwMode="auto">
              <a:xfrm>
                <a:off x="7553325" y="5708650"/>
                <a:ext cx="496888" cy="496887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4" name="Freeform 923"/>
              <p:cNvSpPr>
                <a:spLocks/>
              </p:cNvSpPr>
              <p:nvPr userDrawn="1"/>
            </p:nvSpPr>
            <p:spPr bwMode="auto">
              <a:xfrm>
                <a:off x="7553325" y="5753100"/>
                <a:ext cx="449263" cy="452437"/>
              </a:xfrm>
              <a:custGeom>
                <a:avLst/>
                <a:gdLst>
                  <a:gd name="T0" fmla="*/ 122 w 122"/>
                  <a:gd name="T1" fmla="*/ 123 h 123"/>
                  <a:gd name="T2" fmla="*/ 0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122" y="123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5" name="Freeform 924"/>
              <p:cNvSpPr>
                <a:spLocks/>
              </p:cNvSpPr>
              <p:nvPr userDrawn="1"/>
            </p:nvSpPr>
            <p:spPr bwMode="auto">
              <a:xfrm>
                <a:off x="7553325" y="5800725"/>
                <a:ext cx="404813" cy="404812"/>
              </a:xfrm>
              <a:custGeom>
                <a:avLst/>
                <a:gdLst>
                  <a:gd name="T0" fmla="*/ 110 w 110"/>
                  <a:gd name="T1" fmla="*/ 110 h 110"/>
                  <a:gd name="T2" fmla="*/ 0 w 110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10">
                    <a:moveTo>
                      <a:pt x="110" y="110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6" name="Freeform 925"/>
              <p:cNvSpPr>
                <a:spLocks/>
              </p:cNvSpPr>
              <p:nvPr userDrawn="1"/>
            </p:nvSpPr>
            <p:spPr bwMode="auto">
              <a:xfrm>
                <a:off x="7553325" y="5848350"/>
                <a:ext cx="357188" cy="357187"/>
              </a:xfrm>
              <a:custGeom>
                <a:avLst/>
                <a:gdLst>
                  <a:gd name="T0" fmla="*/ 97 w 97"/>
                  <a:gd name="T1" fmla="*/ 97 h 97"/>
                  <a:gd name="T2" fmla="*/ 0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97" y="97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7" name="Freeform 926"/>
              <p:cNvSpPr>
                <a:spLocks/>
              </p:cNvSpPr>
              <p:nvPr userDrawn="1"/>
            </p:nvSpPr>
            <p:spPr bwMode="auto">
              <a:xfrm>
                <a:off x="7553325" y="5895975"/>
                <a:ext cx="309563" cy="309562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7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8" name="Freeform 927"/>
              <p:cNvSpPr>
                <a:spLocks/>
              </p:cNvSpPr>
              <p:nvPr userDrawn="1"/>
            </p:nvSpPr>
            <p:spPr bwMode="auto">
              <a:xfrm>
                <a:off x="7553325" y="5943600"/>
                <a:ext cx="261938" cy="261937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1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9" name="Freeform 928"/>
              <p:cNvSpPr>
                <a:spLocks/>
              </p:cNvSpPr>
              <p:nvPr userDrawn="1"/>
            </p:nvSpPr>
            <p:spPr bwMode="auto">
              <a:xfrm>
                <a:off x="7553325" y="5991225"/>
                <a:ext cx="212725" cy="214312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0" name="Freeform 929"/>
              <p:cNvSpPr>
                <a:spLocks/>
              </p:cNvSpPr>
              <p:nvPr userDrawn="1"/>
            </p:nvSpPr>
            <p:spPr bwMode="auto">
              <a:xfrm>
                <a:off x="7553325" y="6038850"/>
                <a:ext cx="165100" cy="166687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1" name="Freeform 930"/>
              <p:cNvSpPr>
                <a:spLocks/>
              </p:cNvSpPr>
              <p:nvPr userDrawn="1"/>
            </p:nvSpPr>
            <p:spPr bwMode="auto">
              <a:xfrm>
                <a:off x="7553325" y="6083300"/>
                <a:ext cx="117475" cy="122237"/>
              </a:xfrm>
              <a:custGeom>
                <a:avLst/>
                <a:gdLst>
                  <a:gd name="T0" fmla="*/ 32 w 32"/>
                  <a:gd name="T1" fmla="*/ 33 h 33"/>
                  <a:gd name="T2" fmla="*/ 0 w 32"/>
                  <a:gd name="T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3">
                    <a:moveTo>
                      <a:pt x="32" y="33"/>
                    </a:moveTo>
                    <a:cubicBezTo>
                      <a:pt x="32" y="15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2" name="Freeform 931"/>
              <p:cNvSpPr>
                <a:spLocks/>
              </p:cNvSpPr>
              <p:nvPr userDrawn="1"/>
            </p:nvSpPr>
            <p:spPr bwMode="auto">
              <a:xfrm>
                <a:off x="7553325" y="6130925"/>
                <a:ext cx="73025" cy="74612"/>
              </a:xfrm>
              <a:custGeom>
                <a:avLst/>
                <a:gdLst>
                  <a:gd name="T0" fmla="*/ 20 w 20"/>
                  <a:gd name="T1" fmla="*/ 20 h 20"/>
                  <a:gd name="T2" fmla="*/ 0 w 20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20">
                    <a:moveTo>
                      <a:pt x="20" y="20"/>
                    </a:moveTo>
                    <a:cubicBezTo>
                      <a:pt x="20" y="9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3" name="Freeform 932"/>
              <p:cNvSpPr>
                <a:spLocks/>
              </p:cNvSpPr>
              <p:nvPr userDrawn="1"/>
            </p:nvSpPr>
            <p:spPr bwMode="auto">
              <a:xfrm>
                <a:off x="7553325" y="6178550"/>
                <a:ext cx="25400" cy="26987"/>
              </a:xfrm>
              <a:custGeom>
                <a:avLst/>
                <a:gdLst>
                  <a:gd name="T0" fmla="*/ 7 w 7"/>
                  <a:gd name="T1" fmla="*/ 7 h 7"/>
                  <a:gd name="T2" fmla="*/ 0 w 7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7" y="7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4" name="Freeform 933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966788" cy="971550"/>
              </a:xfrm>
              <a:custGeom>
                <a:avLst/>
                <a:gdLst>
                  <a:gd name="T0" fmla="*/ 0 w 263"/>
                  <a:gd name="T1" fmla="*/ 264 h 264"/>
                  <a:gd name="T2" fmla="*/ 263 w 263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0" y="264"/>
                    </a:moveTo>
                    <a:cubicBezTo>
                      <a:pt x="145" y="264"/>
                      <a:pt x="263" y="146"/>
                      <a:pt x="26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5" name="Freeform 934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919163" cy="923925"/>
              </a:xfrm>
              <a:custGeom>
                <a:avLst/>
                <a:gdLst>
                  <a:gd name="T0" fmla="*/ 0 w 250"/>
                  <a:gd name="T1" fmla="*/ 251 h 251"/>
                  <a:gd name="T2" fmla="*/ 250 w 250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0" h="251">
                    <a:moveTo>
                      <a:pt x="0" y="251"/>
                    </a:moveTo>
                    <a:cubicBezTo>
                      <a:pt x="138" y="251"/>
                      <a:pt x="250" y="139"/>
                      <a:pt x="25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6" name="Freeform 935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874713" cy="874712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1" y="238"/>
                      <a:pt x="238" y="131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7" name="Freeform 936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827088" cy="827087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4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8" name="Freeform 937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779463" cy="779462"/>
              </a:xfrm>
              <a:custGeom>
                <a:avLst/>
                <a:gdLst>
                  <a:gd name="T0" fmla="*/ 0 w 212"/>
                  <a:gd name="T1" fmla="*/ 212 h 212"/>
                  <a:gd name="T2" fmla="*/ 212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212"/>
                    </a:moveTo>
                    <a:cubicBezTo>
                      <a:pt x="117" y="212"/>
                      <a:pt x="212" y="117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9" name="Freeform 938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731838" cy="731837"/>
              </a:xfrm>
              <a:custGeom>
                <a:avLst/>
                <a:gdLst>
                  <a:gd name="T0" fmla="*/ 0 w 199"/>
                  <a:gd name="T1" fmla="*/ 199 h 199"/>
                  <a:gd name="T2" fmla="*/ 199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199"/>
                    </a:moveTo>
                    <a:cubicBezTo>
                      <a:pt x="110" y="199"/>
                      <a:pt x="199" y="110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0" name="Freeform 939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684213" cy="684212"/>
              </a:xfrm>
              <a:custGeom>
                <a:avLst/>
                <a:gdLst>
                  <a:gd name="T0" fmla="*/ 0 w 186"/>
                  <a:gd name="T1" fmla="*/ 186 h 186"/>
                  <a:gd name="T2" fmla="*/ 186 w 186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0" y="186"/>
                    </a:moveTo>
                    <a:cubicBezTo>
                      <a:pt x="103" y="186"/>
                      <a:pt x="186" y="103"/>
                      <a:pt x="18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1" name="Freeform 940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636588" cy="639762"/>
              </a:xfrm>
              <a:custGeom>
                <a:avLst/>
                <a:gdLst>
                  <a:gd name="T0" fmla="*/ 0 w 173"/>
                  <a:gd name="T1" fmla="*/ 174 h 174"/>
                  <a:gd name="T2" fmla="*/ 173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0" y="174"/>
                    </a:moveTo>
                    <a:cubicBezTo>
                      <a:pt x="96" y="174"/>
                      <a:pt x="173" y="96"/>
                      <a:pt x="17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2" name="Freeform 941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588963" cy="592137"/>
              </a:xfrm>
              <a:custGeom>
                <a:avLst/>
                <a:gdLst>
                  <a:gd name="T0" fmla="*/ 0 w 160"/>
                  <a:gd name="T1" fmla="*/ 161 h 161"/>
                  <a:gd name="T2" fmla="*/ 160 w 160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0" h="161">
                    <a:moveTo>
                      <a:pt x="0" y="161"/>
                    </a:moveTo>
                    <a:cubicBezTo>
                      <a:pt x="88" y="161"/>
                      <a:pt x="160" y="89"/>
                      <a:pt x="16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3" name="Freeform 942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541338" cy="544512"/>
              </a:xfrm>
              <a:custGeom>
                <a:avLst/>
                <a:gdLst>
                  <a:gd name="T0" fmla="*/ 0 w 147"/>
                  <a:gd name="T1" fmla="*/ 148 h 148"/>
                  <a:gd name="T2" fmla="*/ 147 w 147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7" h="148">
                    <a:moveTo>
                      <a:pt x="0" y="148"/>
                    </a:moveTo>
                    <a:cubicBezTo>
                      <a:pt x="81" y="148"/>
                      <a:pt x="147" y="82"/>
                      <a:pt x="14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4" name="Freeform 943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496888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4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5" name="Freeform 944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449263" cy="449262"/>
              </a:xfrm>
              <a:custGeom>
                <a:avLst/>
                <a:gdLst>
                  <a:gd name="T0" fmla="*/ 0 w 122"/>
                  <a:gd name="T1" fmla="*/ 122 h 122"/>
                  <a:gd name="T2" fmla="*/ 122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122"/>
                    </a:moveTo>
                    <a:cubicBezTo>
                      <a:pt x="67" y="122"/>
                      <a:pt x="122" y="67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6" name="Freeform 945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401638" cy="401637"/>
              </a:xfrm>
              <a:custGeom>
                <a:avLst/>
                <a:gdLst>
                  <a:gd name="T0" fmla="*/ 0 w 109"/>
                  <a:gd name="T1" fmla="*/ 109 h 109"/>
                  <a:gd name="T2" fmla="*/ 109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109"/>
                    </a:moveTo>
                    <a:cubicBezTo>
                      <a:pt x="60" y="109"/>
                      <a:pt x="109" y="60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7" name="Freeform 946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354013" cy="352425"/>
              </a:xfrm>
              <a:custGeom>
                <a:avLst/>
                <a:gdLst>
                  <a:gd name="T0" fmla="*/ 0 w 96"/>
                  <a:gd name="T1" fmla="*/ 96 h 96"/>
                  <a:gd name="T2" fmla="*/ 96 w 96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0" y="96"/>
                    </a:moveTo>
                    <a:cubicBezTo>
                      <a:pt x="53" y="96"/>
                      <a:pt x="96" y="53"/>
                      <a:pt x="9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8" name="Freeform 947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304800" cy="304800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cubicBezTo>
                      <a:pt x="46" y="83"/>
                      <a:pt x="83" y="46"/>
                      <a:pt x="8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9" name="Freeform 948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257175" cy="260350"/>
              </a:xfrm>
              <a:custGeom>
                <a:avLst/>
                <a:gdLst>
                  <a:gd name="T0" fmla="*/ 0 w 70"/>
                  <a:gd name="T1" fmla="*/ 71 h 71"/>
                  <a:gd name="T2" fmla="*/ 70 w 70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0" y="71"/>
                    </a:moveTo>
                    <a:cubicBezTo>
                      <a:pt x="39" y="71"/>
                      <a:pt x="70" y="39"/>
                      <a:pt x="7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0" name="Freeform 949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209550" cy="212725"/>
              </a:xfrm>
              <a:custGeom>
                <a:avLst/>
                <a:gdLst>
                  <a:gd name="T0" fmla="*/ 0 w 57"/>
                  <a:gd name="T1" fmla="*/ 58 h 58"/>
                  <a:gd name="T2" fmla="*/ 57 w 57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7" h="58">
                    <a:moveTo>
                      <a:pt x="0" y="58"/>
                    </a:moveTo>
                    <a:cubicBezTo>
                      <a:pt x="32" y="58"/>
                      <a:pt x="57" y="32"/>
                      <a:pt x="5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1" name="Freeform 950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165100" cy="165100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4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2" name="Freeform 951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7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3" name="Freeform 952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69850" cy="69850"/>
              </a:xfrm>
              <a:custGeom>
                <a:avLst/>
                <a:gdLst>
                  <a:gd name="T0" fmla="*/ 0 w 19"/>
                  <a:gd name="T1" fmla="*/ 19 h 19"/>
                  <a:gd name="T2" fmla="*/ 19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19"/>
                    </a:moveTo>
                    <a:cubicBezTo>
                      <a:pt x="10" y="19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4" name="Freeform 953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22225" cy="22225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cubicBezTo>
                      <a:pt x="3" y="6"/>
                      <a:pt x="6" y="3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5" name="Freeform 954"/>
              <p:cNvSpPr>
                <a:spLocks/>
              </p:cNvSpPr>
              <p:nvPr userDrawn="1"/>
            </p:nvSpPr>
            <p:spPr bwMode="auto">
              <a:xfrm>
                <a:off x="8523287" y="6205538"/>
                <a:ext cx="969963" cy="966787"/>
              </a:xfrm>
              <a:custGeom>
                <a:avLst/>
                <a:gdLst>
                  <a:gd name="T0" fmla="*/ 0 w 264"/>
                  <a:gd name="T1" fmla="*/ 0 h 263"/>
                  <a:gd name="T2" fmla="*/ 264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0" y="0"/>
                    </a:moveTo>
                    <a:cubicBezTo>
                      <a:pt x="0" y="145"/>
                      <a:pt x="118" y="263"/>
                      <a:pt x="264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6" name="Freeform 955"/>
              <p:cNvSpPr>
                <a:spLocks/>
              </p:cNvSpPr>
              <p:nvPr userDrawn="1"/>
            </p:nvSpPr>
            <p:spPr bwMode="auto">
              <a:xfrm>
                <a:off x="8570912" y="6205538"/>
                <a:ext cx="922338" cy="919162"/>
              </a:xfrm>
              <a:custGeom>
                <a:avLst/>
                <a:gdLst>
                  <a:gd name="T0" fmla="*/ 0 w 251"/>
                  <a:gd name="T1" fmla="*/ 0 h 250"/>
                  <a:gd name="T2" fmla="*/ 251 w 251"/>
                  <a:gd name="T3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0">
                    <a:moveTo>
                      <a:pt x="0" y="0"/>
                    </a:moveTo>
                    <a:cubicBezTo>
                      <a:pt x="0" y="138"/>
                      <a:pt x="112" y="250"/>
                      <a:pt x="251" y="25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7" name="Freeform 956"/>
              <p:cNvSpPr>
                <a:spLocks/>
              </p:cNvSpPr>
              <p:nvPr userDrawn="1"/>
            </p:nvSpPr>
            <p:spPr bwMode="auto">
              <a:xfrm>
                <a:off x="8620125" y="6205538"/>
                <a:ext cx="873125" cy="874712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1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8" name="Freeform 957"/>
              <p:cNvSpPr>
                <a:spLocks/>
              </p:cNvSpPr>
              <p:nvPr userDrawn="1"/>
            </p:nvSpPr>
            <p:spPr bwMode="auto">
              <a:xfrm>
                <a:off x="8667750" y="6205538"/>
                <a:ext cx="825500" cy="827087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4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9" name="Freeform 958"/>
              <p:cNvSpPr>
                <a:spLocks/>
              </p:cNvSpPr>
              <p:nvPr userDrawn="1"/>
            </p:nvSpPr>
            <p:spPr bwMode="auto">
              <a:xfrm>
                <a:off x="8710612" y="6205538"/>
                <a:ext cx="782638" cy="779462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0" name="Freeform 959"/>
              <p:cNvSpPr>
                <a:spLocks/>
              </p:cNvSpPr>
              <p:nvPr userDrawn="1"/>
            </p:nvSpPr>
            <p:spPr bwMode="auto">
              <a:xfrm>
                <a:off x="8758237" y="6205538"/>
                <a:ext cx="735013" cy="731837"/>
              </a:xfrm>
              <a:custGeom>
                <a:avLst/>
                <a:gdLst>
                  <a:gd name="T0" fmla="*/ 0 w 200"/>
                  <a:gd name="T1" fmla="*/ 0 h 199"/>
                  <a:gd name="T2" fmla="*/ 200 w 200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0" y="0"/>
                    </a:moveTo>
                    <a:cubicBezTo>
                      <a:pt x="0" y="110"/>
                      <a:pt x="90" y="199"/>
                      <a:pt x="20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1" name="Freeform 960"/>
              <p:cNvSpPr>
                <a:spLocks/>
              </p:cNvSpPr>
              <p:nvPr userDrawn="1"/>
            </p:nvSpPr>
            <p:spPr bwMode="auto">
              <a:xfrm>
                <a:off x="8807450" y="6205538"/>
                <a:ext cx="685800" cy="684212"/>
              </a:xfrm>
              <a:custGeom>
                <a:avLst/>
                <a:gdLst>
                  <a:gd name="T0" fmla="*/ 0 w 187"/>
                  <a:gd name="T1" fmla="*/ 0 h 186"/>
                  <a:gd name="T2" fmla="*/ 187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0"/>
                    </a:moveTo>
                    <a:cubicBezTo>
                      <a:pt x="0" y="103"/>
                      <a:pt x="84" y="186"/>
                      <a:pt x="187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2" name="Freeform 961"/>
              <p:cNvSpPr>
                <a:spLocks/>
              </p:cNvSpPr>
              <p:nvPr userDrawn="1"/>
            </p:nvSpPr>
            <p:spPr bwMode="auto">
              <a:xfrm>
                <a:off x="8855075" y="6205538"/>
                <a:ext cx="638175" cy="636587"/>
              </a:xfrm>
              <a:custGeom>
                <a:avLst/>
                <a:gdLst>
                  <a:gd name="T0" fmla="*/ 0 w 174"/>
                  <a:gd name="T1" fmla="*/ 0 h 173"/>
                  <a:gd name="T2" fmla="*/ 174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0" y="0"/>
                    </a:moveTo>
                    <a:cubicBezTo>
                      <a:pt x="0" y="96"/>
                      <a:pt x="78" y="173"/>
                      <a:pt x="174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3" name="Freeform 962"/>
              <p:cNvSpPr>
                <a:spLocks/>
              </p:cNvSpPr>
              <p:nvPr userDrawn="1"/>
            </p:nvSpPr>
            <p:spPr bwMode="auto">
              <a:xfrm>
                <a:off x="8902700" y="6205538"/>
                <a:ext cx="590550" cy="588962"/>
              </a:xfrm>
              <a:custGeom>
                <a:avLst/>
                <a:gdLst>
                  <a:gd name="T0" fmla="*/ 0 w 161"/>
                  <a:gd name="T1" fmla="*/ 0 h 160"/>
                  <a:gd name="T2" fmla="*/ 161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0" y="0"/>
                    </a:moveTo>
                    <a:cubicBezTo>
                      <a:pt x="0" y="88"/>
                      <a:pt x="72" y="160"/>
                      <a:pt x="161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4" name="Freeform 963"/>
              <p:cNvSpPr>
                <a:spLocks/>
              </p:cNvSpPr>
              <p:nvPr userDrawn="1"/>
            </p:nvSpPr>
            <p:spPr bwMode="auto">
              <a:xfrm>
                <a:off x="8950325" y="6205538"/>
                <a:ext cx="542925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1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5" name="Freeform 964"/>
              <p:cNvSpPr>
                <a:spLocks/>
              </p:cNvSpPr>
              <p:nvPr userDrawn="1"/>
            </p:nvSpPr>
            <p:spPr bwMode="auto">
              <a:xfrm>
                <a:off x="8997950" y="62055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4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6" name="Freeform 965"/>
              <p:cNvSpPr>
                <a:spLocks/>
              </p:cNvSpPr>
              <p:nvPr userDrawn="1"/>
            </p:nvSpPr>
            <p:spPr bwMode="auto">
              <a:xfrm>
                <a:off x="9045575" y="6205538"/>
                <a:ext cx="447675" cy="447675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7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7" name="Freeform 966"/>
              <p:cNvSpPr>
                <a:spLocks/>
              </p:cNvSpPr>
              <p:nvPr userDrawn="1"/>
            </p:nvSpPr>
            <p:spPr bwMode="auto">
              <a:xfrm>
                <a:off x="9090025" y="6205538"/>
                <a:ext cx="403225" cy="400050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0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8" name="Freeform 967"/>
              <p:cNvSpPr>
                <a:spLocks/>
              </p:cNvSpPr>
              <p:nvPr userDrawn="1"/>
            </p:nvSpPr>
            <p:spPr bwMode="auto">
              <a:xfrm>
                <a:off x="9137650" y="6205538"/>
                <a:ext cx="355600" cy="352425"/>
              </a:xfrm>
              <a:custGeom>
                <a:avLst/>
                <a:gdLst>
                  <a:gd name="T0" fmla="*/ 0 w 97"/>
                  <a:gd name="T1" fmla="*/ 0 h 96"/>
                  <a:gd name="T2" fmla="*/ 97 w 97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0"/>
                    </a:moveTo>
                    <a:cubicBezTo>
                      <a:pt x="0" y="53"/>
                      <a:pt x="43" y="96"/>
                      <a:pt x="97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9" name="Freeform 968"/>
              <p:cNvSpPr>
                <a:spLocks/>
              </p:cNvSpPr>
              <p:nvPr userDrawn="1"/>
            </p:nvSpPr>
            <p:spPr bwMode="auto">
              <a:xfrm>
                <a:off x="9185275" y="6205538"/>
                <a:ext cx="307975" cy="304800"/>
              </a:xfrm>
              <a:custGeom>
                <a:avLst/>
                <a:gdLst>
                  <a:gd name="T0" fmla="*/ 0 w 84"/>
                  <a:gd name="T1" fmla="*/ 0 h 83"/>
                  <a:gd name="T2" fmla="*/ 84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0"/>
                    </a:moveTo>
                    <a:cubicBezTo>
                      <a:pt x="0" y="46"/>
                      <a:pt x="38" y="83"/>
                      <a:pt x="84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30" name="Freeform 969"/>
              <p:cNvSpPr>
                <a:spLocks/>
              </p:cNvSpPr>
              <p:nvPr userDrawn="1"/>
            </p:nvSpPr>
            <p:spPr bwMode="auto">
              <a:xfrm>
                <a:off x="9232900" y="6205538"/>
                <a:ext cx="260350" cy="257175"/>
              </a:xfrm>
              <a:custGeom>
                <a:avLst/>
                <a:gdLst>
                  <a:gd name="T0" fmla="*/ 0 w 71"/>
                  <a:gd name="T1" fmla="*/ 0 h 70"/>
                  <a:gd name="T2" fmla="*/ 71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0" y="0"/>
                    </a:moveTo>
                    <a:cubicBezTo>
                      <a:pt x="0" y="39"/>
                      <a:pt x="32" y="70"/>
                      <a:pt x="71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" name="Freeform 1018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" name="Freeform 1019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" name="Freeform 1020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874713" cy="874712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1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" name="Freeform 1021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827088" cy="827087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4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" name="Freeform 1022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779463" cy="779462"/>
              </a:xfrm>
              <a:custGeom>
                <a:avLst/>
                <a:gdLst>
                  <a:gd name="T0" fmla="*/ 0 w 212"/>
                  <a:gd name="T1" fmla="*/ 212 h 212"/>
                  <a:gd name="T2" fmla="*/ 212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212"/>
                    </a:moveTo>
                    <a:cubicBezTo>
                      <a:pt x="117" y="212"/>
                      <a:pt x="212" y="117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" name="Freeform 1023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731838" cy="731837"/>
              </a:xfrm>
              <a:custGeom>
                <a:avLst/>
                <a:gdLst>
                  <a:gd name="T0" fmla="*/ 0 w 199"/>
                  <a:gd name="T1" fmla="*/ 199 h 199"/>
                  <a:gd name="T2" fmla="*/ 199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199"/>
                    </a:moveTo>
                    <a:cubicBezTo>
                      <a:pt x="110" y="199"/>
                      <a:pt x="199" y="110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" name="Freeform 1024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687388" cy="684212"/>
              </a:xfrm>
              <a:custGeom>
                <a:avLst/>
                <a:gdLst>
                  <a:gd name="T0" fmla="*/ 0 w 187"/>
                  <a:gd name="T1" fmla="*/ 186 h 186"/>
                  <a:gd name="T2" fmla="*/ 187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186"/>
                    </a:moveTo>
                    <a:cubicBezTo>
                      <a:pt x="103" y="186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" name="Freeform 1025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639763" cy="639762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" name="Freeform 1026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592138" cy="592137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" name="Freeform 1027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544513" cy="544512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3" name="Freeform 1028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496888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4" name="Freeform 1029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449263" cy="449262"/>
              </a:xfrm>
              <a:custGeom>
                <a:avLst/>
                <a:gdLst>
                  <a:gd name="T0" fmla="*/ 0 w 122"/>
                  <a:gd name="T1" fmla="*/ 122 h 122"/>
                  <a:gd name="T2" fmla="*/ 122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122"/>
                    </a:moveTo>
                    <a:cubicBezTo>
                      <a:pt x="68" y="122"/>
                      <a:pt x="122" y="67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5" name="Freeform 1030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401638" cy="401637"/>
              </a:xfrm>
              <a:custGeom>
                <a:avLst/>
                <a:gdLst>
                  <a:gd name="T0" fmla="*/ 0 w 109"/>
                  <a:gd name="T1" fmla="*/ 109 h 109"/>
                  <a:gd name="T2" fmla="*/ 109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109"/>
                    </a:moveTo>
                    <a:cubicBezTo>
                      <a:pt x="60" y="109"/>
                      <a:pt x="109" y="60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6" name="Freeform 1031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357188" cy="352425"/>
              </a:xfrm>
              <a:custGeom>
                <a:avLst/>
                <a:gdLst>
                  <a:gd name="T0" fmla="*/ 0 w 97"/>
                  <a:gd name="T1" fmla="*/ 96 h 96"/>
                  <a:gd name="T2" fmla="*/ 97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96"/>
                    </a:moveTo>
                    <a:cubicBezTo>
                      <a:pt x="53" y="96"/>
                      <a:pt x="97" y="53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7" name="Freeform 1032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309563" cy="304800"/>
              </a:xfrm>
              <a:custGeom>
                <a:avLst/>
                <a:gdLst>
                  <a:gd name="T0" fmla="*/ 0 w 84"/>
                  <a:gd name="T1" fmla="*/ 83 h 83"/>
                  <a:gd name="T2" fmla="*/ 84 w 84"/>
                  <a:gd name="T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83"/>
                    </a:moveTo>
                    <a:cubicBezTo>
                      <a:pt x="46" y="83"/>
                      <a:pt x="84" y="46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" name="Freeform 1033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261938" cy="260350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" name="Freeform 1034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214313" cy="212725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" name="Freeform 1035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165100" cy="165100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" name="Freeform 1036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" name="Freeform 1037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69850" cy="69850"/>
              </a:xfrm>
              <a:custGeom>
                <a:avLst/>
                <a:gdLst>
                  <a:gd name="T0" fmla="*/ 0 w 19"/>
                  <a:gd name="T1" fmla="*/ 19 h 19"/>
                  <a:gd name="T2" fmla="*/ 19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19"/>
                    </a:moveTo>
                    <a:cubicBezTo>
                      <a:pt x="11" y="19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" name="Freeform 1038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22225" cy="22225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cubicBezTo>
                      <a:pt x="4" y="6"/>
                      <a:pt x="6" y="3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</p:grpSp>
        <p:sp>
          <p:nvSpPr>
            <p:cNvPr id="9" name="Rectangle 8"/>
            <p:cNvSpPr/>
            <p:nvPr userDrawn="1"/>
          </p:nvSpPr>
          <p:spPr>
            <a:xfrm>
              <a:off x="0" y="2910736"/>
              <a:ext cx="9144000" cy="5325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FFFFFF"/>
                </a:solidFill>
              </a:endParaRPr>
            </a:p>
          </p:txBody>
        </p:sp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030820" y="388611"/>
            <a:ext cx="10126133" cy="1520729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4200" b="1" i="0" baseline="0">
                <a:solidFill>
                  <a:schemeClr val="accent1"/>
                </a:solidFill>
                <a:latin typeface="Sharp Sans No2 Bold" charset="0"/>
                <a:ea typeface="Sharp Sans No2 Bold" charset="0"/>
                <a:cs typeface="Sharp Sans No2 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030820" y="2100265"/>
            <a:ext cx="10126133" cy="42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solidFill>
                  <a:schemeClr val="bg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-273049" y="3287713"/>
            <a:ext cx="14230351" cy="4856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3361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0376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._Reporting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A33198D-E67E-4372-BA00-B4A10E0799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EF08F0B-0B55-DA46-91FB-61B73F529C3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1224" y="1511827"/>
            <a:ext cx="5793146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4475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476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476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016890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64CAB8E1-379F-417C-882D-9298F11376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8403" y="573063"/>
            <a:ext cx="10019568" cy="6667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C50DA92-2BE8-46E7-8577-F712803988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08403" y="1385505"/>
            <a:ext cx="10019568" cy="3652011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2"/>
              </a:buClr>
              <a:buFontTx/>
              <a:buNone/>
              <a:defRPr sz="1350">
                <a:solidFill>
                  <a:schemeClr val="accent3"/>
                </a:solidFill>
              </a:defRPr>
            </a:lvl1pPr>
            <a:lvl2pPr marL="182166" indent="0">
              <a:spcAft>
                <a:spcPts val="900"/>
              </a:spcAft>
              <a:buFontTx/>
              <a:buNone/>
              <a:defRPr sz="1050">
                <a:solidFill>
                  <a:schemeClr val="accent3"/>
                </a:solidFill>
              </a:defRPr>
            </a:lvl2pPr>
            <a:lvl3pPr marL="375047" indent="0">
              <a:spcAft>
                <a:spcPts val="900"/>
              </a:spcAft>
              <a:buFontTx/>
              <a:buNone/>
              <a:defRPr sz="900">
                <a:solidFill>
                  <a:schemeClr val="accent3"/>
                </a:solidFill>
              </a:defRPr>
            </a:lvl3pPr>
            <a:lvl4pPr marL="519113" indent="0">
              <a:spcAft>
                <a:spcPts val="900"/>
              </a:spcAft>
              <a:buFontTx/>
              <a:buNone/>
              <a:defRPr sz="900">
                <a:solidFill>
                  <a:schemeClr val="accent3"/>
                </a:solidFill>
              </a:defRPr>
            </a:lvl4pPr>
            <a:lvl5pPr marL="690563" indent="0">
              <a:spcAft>
                <a:spcPts val="900"/>
              </a:spcAft>
              <a:buFontTx/>
              <a:buNone/>
              <a:defRPr sz="9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602249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FB14C801-F4E5-4AE4-8F30-81BDD5731B8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5181" cy="6858000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0744" y="1643063"/>
            <a:ext cx="4731657" cy="4264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00" b="1">
                <a:solidFill>
                  <a:schemeClr val="tx1"/>
                </a:solidFill>
                <a:latin typeface="+mn-lt"/>
                <a:cs typeface="Times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“Click to edit Master subtitle style.”</a:t>
            </a:r>
          </a:p>
        </p:txBody>
      </p:sp>
      <p:sp>
        <p:nvSpPr>
          <p:cNvPr id="12" name="Title 3"/>
          <p:cNvSpPr>
            <a:spLocks noGrp="1"/>
          </p:cNvSpPr>
          <p:nvPr>
            <p:ph type="title"/>
          </p:nvPr>
        </p:nvSpPr>
        <p:spPr>
          <a:xfrm>
            <a:off x="6850742" y="668333"/>
            <a:ext cx="4731657" cy="974731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804655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_Full Page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599" cy="759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838200" y="1343278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951916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_Full Page for Content">
    <p:bg>
      <p:bgPr>
        <a:solidFill>
          <a:schemeClr val="tx1">
            <a:alpha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599" cy="75966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AC927F3-9782-4F15-B2B2-CA75A9AFEA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43278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701439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_Full Page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38201" y="1778000"/>
            <a:ext cx="10515598" cy="1059794"/>
          </a:xfrm>
        </p:spPr>
        <p:txBody>
          <a:bodyPr anchor="ctr">
            <a:normAutofit/>
          </a:bodyPr>
          <a:lstStyle>
            <a:lvl1pPr algn="ctr">
              <a:defRPr sz="3600">
                <a:solidFill>
                  <a:srgbClr val="30396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202375" y="6322861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idx="13" hasCustomPrompt="1"/>
          </p:nvPr>
        </p:nvSpPr>
        <p:spPr>
          <a:xfrm>
            <a:off x="838200" y="5273575"/>
            <a:ext cx="10515599" cy="454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algn="ctr">
              <a:defRPr sz="1200" b="1" i="0">
                <a:solidFill>
                  <a:schemeClr val="tx1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9202375" y="632286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1" i="0" kern="1200">
                <a:solidFill>
                  <a:schemeClr val="tx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29DF5D-226D-BC4F-AD0E-80139D210728}" type="slidenum">
              <a:rPr lang="en-US" smtClean="0">
                <a:latin typeface="+mn-lt"/>
              </a:rPr>
              <a:pPr/>
              <a:t>‹#›</a:t>
            </a:fld>
            <a:endParaRPr lang="en-US">
              <a:latin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4"/>
          </p:nvPr>
        </p:nvSpPr>
        <p:spPr>
          <a:xfrm>
            <a:off x="838201" y="2991761"/>
            <a:ext cx="10515598" cy="2128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b="1" i="0">
                <a:solidFill>
                  <a:schemeClr val="tx1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5664199" y="660279"/>
            <a:ext cx="863602" cy="1110138"/>
            <a:chOff x="5462952" y="401413"/>
            <a:chExt cx="1266093" cy="1627531"/>
          </a:xfrm>
        </p:grpSpPr>
        <p:sp>
          <p:nvSpPr>
            <p:cNvPr id="20" name="Oval 19"/>
            <p:cNvSpPr/>
            <p:nvPr userDrawn="1"/>
          </p:nvSpPr>
          <p:spPr>
            <a:xfrm>
              <a:off x="5462952" y="401413"/>
              <a:ext cx="1266093" cy="126609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itle 1"/>
            <p:cNvSpPr txBox="1">
              <a:spLocks/>
            </p:cNvSpPr>
            <p:nvPr userDrawn="1"/>
          </p:nvSpPr>
          <p:spPr>
            <a:xfrm>
              <a:off x="5558498" y="1182318"/>
              <a:ext cx="1075005" cy="84662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0" i="0" kern="1200">
                  <a:solidFill>
                    <a:srgbClr val="303960"/>
                  </a:solidFill>
                  <a:latin typeface="SharpSansNo2-Semibold"/>
                  <a:ea typeface="Sharp Sans No2 Bold" charset="0"/>
                  <a:cs typeface="SharpSansNo2-Semibold"/>
                </a:defRPr>
              </a:lvl1pPr>
            </a:lstStyle>
            <a:p>
              <a:r>
                <a:rPr lang="en-US" sz="100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048992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_Full Page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599" cy="604293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4192"/>
            <a:ext cx="1050628" cy="398627"/>
          </a:xfrm>
          <a:prstGeom prst="rect">
            <a:avLst/>
          </a:prstGeom>
        </p:spPr>
      </p:pic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838199" y="1137127"/>
            <a:ext cx="10515599" cy="56477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3FB6E57-A335-4C3D-A372-2F71BD66E4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69285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44982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_2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B18B696-BD75-4DCB-90C0-E760CDA707B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08059" y="1423969"/>
            <a:ext cx="5145741" cy="3793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FE3EDD-BBB4-4C7F-873E-4CA25FCEE105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38200" y="1423968"/>
            <a:ext cx="5145741" cy="3793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01794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_2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3"/>
          </p:nvPr>
        </p:nvSpPr>
        <p:spPr>
          <a:xfrm>
            <a:off x="838200" y="1324989"/>
            <a:ext cx="10515600" cy="56477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EDC271E-6DAC-40CF-8609-83E97B8B6B87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198" y="2047283"/>
            <a:ext cx="5145741" cy="31784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832F7A8-8952-4C80-BE53-04469517421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08061" y="2047284"/>
            <a:ext cx="5145741" cy="31784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660462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._Half Page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57188"/>
            <a:ext cx="4663396" cy="1233488"/>
          </a:xfrm>
        </p:spPr>
        <p:txBody>
          <a:bodyPr anchor="ctr">
            <a:noAutofit/>
          </a:bodyPr>
          <a:lstStyle>
            <a:lvl1pPr>
              <a:defRPr sz="36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26150" y="1"/>
            <a:ext cx="3082925" cy="34337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idx="15"/>
          </p:nvPr>
        </p:nvSpPr>
        <p:spPr>
          <a:xfrm>
            <a:off x="9109075" y="1"/>
            <a:ext cx="3082925" cy="34337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idx="16"/>
          </p:nvPr>
        </p:nvSpPr>
        <p:spPr>
          <a:xfrm>
            <a:off x="6026151" y="3433796"/>
            <a:ext cx="6165850" cy="3440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4192"/>
            <a:ext cx="1050628" cy="398627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1913C18-56B9-46EF-8C74-00D0F93952FA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38199" y="1840078"/>
            <a:ext cx="4664985" cy="31874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85084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._Reporting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4293000-799E-CB4D-835B-CDBA88E84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0413" cy="685799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C4F4200-CB30-4626-86F7-F47EA20659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3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9D672A5-E0D4-4B13-9945-0EE6B88DFD68}"/>
              </a:ext>
            </a:extLst>
          </p:cNvPr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C59FC19-18D9-0541-9BC4-D94350C4470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224" y="1511827"/>
            <a:ext cx="5793146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12157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_Half Page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92751" y="357188"/>
            <a:ext cx="4663396" cy="1233488"/>
          </a:xfrm>
        </p:spPr>
        <p:txBody>
          <a:bodyPr anchor="ctr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-1" y="1"/>
            <a:ext cx="3082925" cy="34337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idx="15"/>
          </p:nvPr>
        </p:nvSpPr>
        <p:spPr>
          <a:xfrm>
            <a:off x="3082924" y="1"/>
            <a:ext cx="3082925" cy="34337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idx="16"/>
          </p:nvPr>
        </p:nvSpPr>
        <p:spPr>
          <a:xfrm>
            <a:off x="0" y="3433796"/>
            <a:ext cx="6165850" cy="3440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7F2D0F1-8114-412C-B5FA-89C11D78215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792751" y="1837155"/>
            <a:ext cx="4664985" cy="31874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907836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_3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E1F7E51-FBF6-44F7-A2BA-35FF5845D4B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8036860" y="1416369"/>
            <a:ext cx="3316940" cy="38094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318C01-99E2-468B-8661-A54D99522A1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437530" y="1416369"/>
            <a:ext cx="3316940" cy="38094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04A71C7-EB5B-4194-8DD4-711310F640EB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8200" y="1415130"/>
            <a:ext cx="3316940" cy="38094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47626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_3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838201" y="1446322"/>
            <a:ext cx="3316940" cy="564777"/>
          </a:xfrm>
          <a:prstGeom prst="rect">
            <a:avLst/>
          </a:prstGeom>
        </p:spPr>
        <p:txBody>
          <a:bodyPr anchor="t"/>
          <a:lstStyle>
            <a:lvl1pPr>
              <a:defRPr sz="16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6"/>
          </p:nvPr>
        </p:nvSpPr>
        <p:spPr>
          <a:xfrm>
            <a:off x="4437530" y="1446322"/>
            <a:ext cx="3316940" cy="564777"/>
          </a:xfrm>
          <a:prstGeom prst="rect">
            <a:avLst/>
          </a:prstGeom>
        </p:spPr>
        <p:txBody>
          <a:bodyPr anchor="t"/>
          <a:lstStyle>
            <a:lvl1pPr>
              <a:defRPr sz="16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8036861" y="1446322"/>
            <a:ext cx="3316940" cy="564777"/>
          </a:xfrm>
          <a:prstGeom prst="rect">
            <a:avLst/>
          </a:prstGeom>
        </p:spPr>
        <p:txBody>
          <a:bodyPr anchor="t"/>
          <a:lstStyle>
            <a:lvl1pPr>
              <a:defRPr sz="16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A9EA169-72AD-43CC-BDA5-B2BF8BD78CE1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8200" y="2071560"/>
            <a:ext cx="3316940" cy="3837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8492876-9587-457F-A68A-0DEC25667268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4437529" y="2071559"/>
            <a:ext cx="3316940" cy="3837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3A13D8C-94B3-4010-8B7D-09A879213718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8036858" y="2071560"/>
            <a:ext cx="3316940" cy="3837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096684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.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-1"/>
            <a:ext cx="12192000" cy="68579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1" y="2002889"/>
            <a:ext cx="6477000" cy="1325563"/>
          </a:xfrm>
        </p:spPr>
        <p:txBody>
          <a:bodyPr anchor="b">
            <a:norm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81101" y="4851400"/>
            <a:ext cx="3316940" cy="1572079"/>
          </a:xfrm>
          <a:prstGeom prst="rect">
            <a:avLst/>
          </a:prstGeom>
        </p:spPr>
        <p:txBody>
          <a:bodyPr anchor="t"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5728" y="4356100"/>
            <a:ext cx="2771210" cy="1051446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1181100" y="3463003"/>
            <a:ext cx="6477001" cy="56477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81100" y="4356100"/>
            <a:ext cx="3316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rPr>
              <a:t>Call or Text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2659" y="838488"/>
            <a:ext cx="33169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0">
                <a:solidFill>
                  <a:schemeClr val="tx1"/>
                </a:solidFill>
                <a:latin typeface="+mn-lt"/>
                <a:ea typeface="Sharp Sans No2 Semibold" charset="0"/>
                <a:cs typeface="Sharp Sans No2 Semibold" charset="0"/>
              </a:rPr>
              <a:t>Thank you!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036860" y="5407546"/>
            <a:ext cx="32100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rPr>
              <a:t>somos.com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286441" y="1764431"/>
            <a:ext cx="755607" cy="0"/>
          </a:xfrm>
          <a:prstGeom prst="line">
            <a:avLst/>
          </a:prstGeom>
          <a:ln w="38100" cmpd="sng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986167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14312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._Agenda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356100" y="0"/>
            <a:ext cx="7835900" cy="6867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4192"/>
            <a:ext cx="1050628" cy="398627"/>
          </a:xfrm>
          <a:prstGeom prst="rect">
            <a:avLst/>
          </a:prstGeom>
        </p:spPr>
      </p:pic>
      <p:sp>
        <p:nvSpPr>
          <p:cNvPr id="7" name="Title 16">
            <a:extLst>
              <a:ext uri="{FF2B5EF4-FFF2-40B4-BE49-F238E27FC236}">
                <a16:creationId xmlns:a16="http://schemas.microsoft.com/office/drawing/2014/main" id="{2CC97E33-C78D-2C48-A488-ADB8CC977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6941" y="1972631"/>
            <a:ext cx="2580627" cy="1600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C565518F-18BD-CD4F-86F1-021867DBB6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0709" y="693754"/>
            <a:ext cx="6426200" cy="547049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+mj-lt"/>
              <a:buNone/>
              <a:tabLst/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457200" lvl="0" indent="-457200">
              <a:lnSpc>
                <a:spcPct val="3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/>
              <a:t>Click to edit Master text styles</a:t>
            </a:r>
          </a:p>
          <a:p>
            <a:pPr marL="457200" lvl="1" indent="-457200">
              <a:lnSpc>
                <a:spcPct val="3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/>
              <a:t>Second level</a:t>
            </a:r>
          </a:p>
          <a:p>
            <a:pPr marL="457200" lvl="2" indent="-457200">
              <a:lnSpc>
                <a:spcPct val="3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/>
              <a:t>Third level</a:t>
            </a:r>
          </a:p>
          <a:p>
            <a:pPr marL="457200" lvl="3" indent="-457200">
              <a:lnSpc>
                <a:spcPct val="3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/>
              <a:t>Fourth level</a:t>
            </a:r>
          </a:p>
          <a:p>
            <a:pPr marL="457200" lvl="4" indent="-457200">
              <a:lnSpc>
                <a:spcPct val="3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D920975-15CB-DD4E-BCE2-5B3E02E59FFE}"/>
              </a:ext>
            </a:extLst>
          </p:cNvPr>
          <p:cNvCxnSpPr/>
          <p:nvPr userDrawn="1"/>
        </p:nvCxnSpPr>
        <p:spPr>
          <a:xfrm>
            <a:off x="1286441" y="202603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A73CD0D-E302-8343-AA33-EAED865D85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841" y="952500"/>
            <a:ext cx="931781" cy="93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04236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._Somos Title Slide Wav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-1"/>
            <a:ext cx="12192000" cy="685799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224" y="1124734"/>
            <a:ext cx="3103214" cy="1236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90634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>
            <a:extLst>
              <a:ext uri="{FF2B5EF4-FFF2-40B4-BE49-F238E27FC236}">
                <a16:creationId xmlns:a16="http://schemas.microsoft.com/office/drawing/2014/main" id="{8306D12B-FC81-4C78-B77D-57E269CF7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8403" y="573061"/>
            <a:ext cx="10019568" cy="6667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192142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5CEDB-D2B3-964C-9E43-CD54C2B299DE}" type="datetimeFigureOut">
              <a:rPr lang="en-US" smtClean="0"/>
              <a:t>6/28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98CD2-E429-5244-AA6A-59AE57BFF1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1537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5CEDB-D2B3-964C-9E43-CD54C2B299DE}" type="datetimeFigureOut">
              <a:rPr lang="en-US" smtClean="0"/>
              <a:t>6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98CD2-E429-5244-AA6A-59AE57BFF1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3299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._Reporting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accent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EB598B-5B9F-4223-9FAB-548ABEA6D5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D12877B-2E6A-E444-9873-4DD01946E3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1850" y="1546210"/>
            <a:ext cx="5793146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6337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05E8D-E3AC-F99D-800C-154996F82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64EBAE-411A-0E17-B04E-30688B78CC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FBF6B-2033-D2F9-2B5A-892FBB84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62CEA-02A0-ED42-A2D7-B209BCCFA91B}" type="datetimeFigureOut">
              <a:rPr lang="en-US" smtClean="0"/>
              <a:t>6/2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6C5135-74E8-F72C-B627-C9E788D66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BD25AE-80FB-B166-ECB6-18712FA32E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5D8E9-C5A0-194B-875D-900E168BB1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9952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._TSS Registr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5FD6E9C-51D9-4FED-AAF3-29D5EF451A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14400" y="1517904"/>
            <a:ext cx="3143254" cy="5669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17310CC-2950-4BDA-BA5B-7DCB1223B3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164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 userDrawn="1">
          <p15:clr>
            <a:srgbClr val="FBAE40"/>
          </p15:clr>
        </p15:guide>
        <p15:guide id="2" orient="horz" pos="1248" userDrawn="1">
          <p15:clr>
            <a:srgbClr val="FBAE40"/>
          </p15:clr>
        </p15:guide>
        <p15:guide id="3" orient="horz" pos="9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._TSS Registry Title Slide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1A547328-F0DA-46B7-9A06-66D2E2D606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1F0C471-D2D6-2540-9C12-1FDA7E5293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1517904"/>
            <a:ext cx="3143254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5206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._TSS Registr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4293000-799E-CB4D-835B-CDBA88E84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0413" cy="685799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29F3DFD-B6FD-4365-8962-3B8BA70A22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3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8AB9DCB-119F-49E9-85A7-CB2EFB0CAFE6}"/>
              </a:ext>
            </a:extLst>
          </p:cNvPr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3EDCA884-2370-B54E-B921-CBA56B843D7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4400" y="1517904"/>
            <a:ext cx="3143254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5703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._TSS Registr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accent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957FF0F-317B-414D-8D2D-C6ED7AA412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2616CA6-5E2F-6849-B231-32CD0953C7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1517904"/>
            <a:ext cx="3143253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0686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._RouteLin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224" y="1517904"/>
            <a:ext cx="2756410" cy="4652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E7493C1-F050-4AF7-A4EC-F4945BAACB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410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48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96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._RouteLink Title Slide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26DAE88-F5E3-45BF-8882-433EAC51C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224" y="1517904"/>
            <a:ext cx="2756410" cy="46523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DE746C-12D4-4C79-AAE2-6EF969EFC9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6413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_Somos Title Slide Wav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11224" y="1124939"/>
            <a:ext cx="3103214" cy="123617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._RouteLin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4293000-799E-CB4D-835B-CDBA88E84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0413" cy="685799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FE79CBE-69BA-42B2-AD55-03DBBD4667A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3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424A7A9-11DF-428A-8DF6-CBC223522C79}"/>
              </a:ext>
            </a:extLst>
          </p:cNvPr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E9B46DEB-70C4-4DD4-A6B6-883906254D8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224" y="1517904"/>
            <a:ext cx="2756410" cy="46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1109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._RouteLin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224" y="1519764"/>
            <a:ext cx="2762968" cy="466344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accent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D287559-2985-48FA-B7CA-3A5858AFCA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5302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._TFN Identit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09744" y="1517904"/>
            <a:ext cx="3107606" cy="5669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AB881BA-D7A4-49B0-95DB-1177812D49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340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48" userDrawn="1">
          <p15:clr>
            <a:srgbClr val="FBAE40"/>
          </p15:clr>
        </p15:guide>
        <p15:guide id="2" orient="horz" pos="960" userDrawn="1">
          <p15:clr>
            <a:srgbClr val="FBAE40"/>
          </p15:clr>
        </p15:guide>
        <p15:guide id="3" pos="60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._TFN Identity Title Slide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63D43E8-2644-4BBB-9B36-E89E8C7E0D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25CD73F-B010-F747-A193-268E7D1135A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09744" y="1517904"/>
            <a:ext cx="3107606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5209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._TFN Identit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4293000-799E-CB4D-835B-CDBA88E84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0413" cy="685799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642C273-3AD8-4240-8E52-B46A490451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CC4AFE-35C5-4236-89F6-ADEAD1AE30CE}"/>
              </a:ext>
            </a:extLst>
          </p:cNvPr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5E1740C-9D5F-CF43-BA21-B2D9B4BC5CA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09744" y="1517904"/>
            <a:ext cx="3107606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839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._TFN Identit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accent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D011B4-A884-4BFD-9DF7-53664BFE66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27F3AF-73A1-BF4B-97C4-CF32B6EA3B4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1517904"/>
            <a:ext cx="3107606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0526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._RealNumb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14400" y="1520818"/>
            <a:ext cx="3508686" cy="46051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AB881BA-D7A4-49B0-95DB-1177812D49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514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48">
          <p15:clr>
            <a:srgbClr val="FBAE40"/>
          </p15:clr>
        </p15:guide>
        <p15:guide id="2" orient="horz" pos="960">
          <p15:clr>
            <a:srgbClr val="FBAE40"/>
          </p15:clr>
        </p15:guide>
        <p15:guide id="3" pos="60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._RealNumb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63D43E8-2644-4BBB-9B36-E89E8C7E0D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25CD73F-B010-F747-A193-268E7D1135A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1520819"/>
            <a:ext cx="3508685" cy="460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4105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._RealNumb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4293000-799E-CB4D-835B-CDBA88E84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0413" cy="685799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642C273-3AD8-4240-8E52-B46A490451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CC4AFE-35C5-4236-89F6-ADEAD1AE30CE}"/>
              </a:ext>
            </a:extLst>
          </p:cNvPr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5E1740C-9D5F-CF43-BA21-B2D9B4BC5CA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4400" y="1520819"/>
            <a:ext cx="3508685" cy="460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0623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._RealNumb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accent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D011B4-A884-4BFD-9DF7-53664BFE66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27F3AF-73A1-BF4B-97C4-CF32B6EA3B4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1520819"/>
            <a:ext cx="3508685" cy="460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0484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_Somo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4293000-799E-CB4D-835B-CDBA88E84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0413" cy="685799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93DB25E-C881-4CE1-B42C-D4E5312E701A}"/>
              </a:ext>
            </a:extLst>
          </p:cNvPr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black screen with white text&#10;&#10;Description automatically generated with low confidence">
            <a:extLst>
              <a:ext uri="{FF2B5EF4-FFF2-40B4-BE49-F238E27FC236}">
                <a16:creationId xmlns:a16="http://schemas.microsoft.com/office/drawing/2014/main" id="{047E54DB-FB92-C661-09D0-95632F8C6D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1224" y="1123904"/>
            <a:ext cx="3103214" cy="123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662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._Auction Registr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14400" y="1517904"/>
            <a:ext cx="4145236" cy="5669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AB881BA-D7A4-49B0-95DB-1177812D49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208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48">
          <p15:clr>
            <a:srgbClr val="FBAE40"/>
          </p15:clr>
        </p15:guide>
        <p15:guide id="2" orient="horz" pos="960">
          <p15:clr>
            <a:srgbClr val="FBAE40"/>
          </p15:clr>
        </p15:guide>
        <p15:guide id="3" pos="60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._Auction Registr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63D43E8-2644-4BBB-9B36-E89E8C7E0D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25CD73F-B010-F747-A193-268E7D1135A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1517904"/>
            <a:ext cx="4145236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8355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._Auction Registr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4293000-799E-CB4D-835B-CDBA88E84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0413" cy="685799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642C273-3AD8-4240-8E52-B46A490451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CC4AFE-35C5-4236-89F6-ADEAD1AE30CE}"/>
              </a:ext>
            </a:extLst>
          </p:cNvPr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5E1740C-9D5F-CF43-BA21-B2D9B4BC5CA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4400" y="1517904"/>
            <a:ext cx="4145236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3624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._Auction Registr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accent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D011B4-A884-4BFD-9DF7-53664BFE66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27F3AF-73A1-BF4B-97C4-CF32B6EA3B4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399" y="1517904"/>
            <a:ext cx="4145236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2026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4._TFN Marketplac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2AB881BA-D7A4-49B0-95DB-1177812D49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0796390-30AB-634B-A398-7926C8BF17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1517904"/>
            <a:ext cx="441925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09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48" userDrawn="1">
          <p15:clr>
            <a:srgbClr val="FBAE40"/>
          </p15:clr>
        </p15:guide>
        <p15:guide id="2" pos="600" userDrawn="1">
          <p15:clr>
            <a:srgbClr val="FBAE40"/>
          </p15:clr>
        </p15:guide>
        <p15:guide id="3" orient="horz" pos="96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5._TFN Marketplac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63D43E8-2644-4BBB-9B36-E89E8C7E0D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3FAA1C5-1699-724E-86D3-9E24FA655BF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1517904"/>
            <a:ext cx="441925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5963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6._TFN Marketplac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4293000-799E-CB4D-835B-CDBA88E84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0413" cy="685799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642C273-3AD8-4240-8E52-B46A490451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CC4AFE-35C5-4236-89F6-ADEAD1AE30CE}"/>
              </a:ext>
            </a:extLst>
          </p:cNvPr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88E32C7-69E6-DC4C-9ADA-CC72D1AA31A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4400" y="1517904"/>
            <a:ext cx="4419253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5239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._TFN Marketplac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accent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D011B4-A884-4BFD-9DF7-53664BFE66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AC62EC9-06B2-BE48-9EEC-FFCAFB623B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1517904"/>
            <a:ext cx="4419252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508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8._CT Service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11224" y="1520535"/>
            <a:ext cx="3252203" cy="4663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F5B1FE-B7C2-42FB-9A98-73CE02A1D0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197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48" userDrawn="1">
          <p15:clr>
            <a:srgbClr val="FBAE40"/>
          </p15:clr>
        </p15:guide>
        <p15:guide id="2" pos="576" userDrawn="1">
          <p15:clr>
            <a:srgbClr val="FBAE40"/>
          </p15:clr>
        </p15:guide>
        <p15:guide id="3" orient="horz" pos="96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9._CT Services Title Slide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11224" y="1520534"/>
            <a:ext cx="3252203" cy="4663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D98CA92-32E1-452F-9A1C-C18DEF9B01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6921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_Somos Title Slide Wav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9576"/>
            <a:ext cx="12191999" cy="6867575"/>
          </a:xfrm>
          <a:prstGeom prst="rect">
            <a:avLst/>
          </a:prstGeom>
          <a:solidFill>
            <a:srgbClr val="303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838200" y="701226"/>
            <a:ext cx="10515600" cy="2624543"/>
          </a:xfrm>
        </p:spPr>
        <p:txBody>
          <a:bodyPr anchor="t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D80ECDB-FBD4-49BB-B0C3-DE4410588D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._CT Service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4293000-799E-CB4D-835B-CDBA88E84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0413" cy="685799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637A822-605C-4B23-BE22-56F0EF6DD4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3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E6F4EB8-EF4E-457B-9DDA-3257E0521941}"/>
              </a:ext>
            </a:extLst>
          </p:cNvPr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B0C05B8-45E8-4DE8-9810-1436FF85D26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226" y="1520533"/>
            <a:ext cx="3252206" cy="46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0090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1._CT Service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accent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C47CC2E-9EE7-4DFD-AEB6-86536B226D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4192"/>
            <a:ext cx="1050628" cy="39862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11EFFE0-4410-4A25-AC8A-A4C406D199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1226" y="1520534"/>
            <a:ext cx="3252206" cy="46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0185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2._Agenda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356100" y="0"/>
            <a:ext cx="7835900" cy="6867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4192"/>
            <a:ext cx="1050628" cy="398627"/>
          </a:xfrm>
          <a:prstGeom prst="rect">
            <a:avLst/>
          </a:prstGeom>
        </p:spPr>
      </p:pic>
      <p:sp>
        <p:nvSpPr>
          <p:cNvPr id="7" name="Title 16">
            <a:extLst>
              <a:ext uri="{FF2B5EF4-FFF2-40B4-BE49-F238E27FC236}">
                <a16:creationId xmlns:a16="http://schemas.microsoft.com/office/drawing/2014/main" id="{2CC97E33-C78D-2C48-A488-ADB8CC977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6941" y="1972631"/>
            <a:ext cx="2580627" cy="1600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C565518F-18BD-CD4F-86F1-021867DBB6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0709" y="693754"/>
            <a:ext cx="6426200" cy="547049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+mj-lt"/>
              <a:buNone/>
              <a:tabLst/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457200" lvl="0" indent="-457200">
              <a:lnSpc>
                <a:spcPct val="3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/>
              <a:t>Click to edit Master text styles</a:t>
            </a:r>
          </a:p>
          <a:p>
            <a:pPr marL="457200" lvl="1" indent="-457200">
              <a:lnSpc>
                <a:spcPct val="3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/>
              <a:t>Second level</a:t>
            </a:r>
          </a:p>
          <a:p>
            <a:pPr marL="457200" lvl="2" indent="-457200">
              <a:lnSpc>
                <a:spcPct val="3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/>
              <a:t>Third level</a:t>
            </a:r>
          </a:p>
          <a:p>
            <a:pPr marL="457200" lvl="3" indent="-457200">
              <a:lnSpc>
                <a:spcPct val="3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/>
              <a:t>Fourth level</a:t>
            </a:r>
          </a:p>
          <a:p>
            <a:pPr marL="457200" lvl="4" indent="-457200">
              <a:lnSpc>
                <a:spcPct val="3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D920975-15CB-DD4E-BCE2-5B3E02E59FFE}"/>
              </a:ext>
            </a:extLst>
          </p:cNvPr>
          <p:cNvCxnSpPr/>
          <p:nvPr userDrawn="1"/>
        </p:nvCxnSpPr>
        <p:spPr>
          <a:xfrm>
            <a:off x="1286441" y="202603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A73CD0D-E302-8343-AA33-EAED865D85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841" y="952500"/>
            <a:ext cx="931781" cy="93054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3._Half P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57188"/>
            <a:ext cx="4663396" cy="1233488"/>
          </a:xfrm>
        </p:spPr>
        <p:txBody>
          <a:bodyPr anchor="ctr">
            <a:noAutofit/>
          </a:bodyPr>
          <a:lstStyle>
            <a:lvl1pPr>
              <a:defRPr sz="36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38200" y="1877351"/>
            <a:ext cx="4664984" cy="313674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4192"/>
            <a:ext cx="1050628" cy="398627"/>
          </a:xfrm>
          <a:prstGeom prst="rect">
            <a:avLst/>
          </a:prstGeom>
        </p:spPr>
      </p:pic>
      <p:pic>
        <p:nvPicPr>
          <p:cNvPr id="6" name="Content Placeholder 10">
            <a:extLst>
              <a:ext uri="{FF2B5EF4-FFF2-40B4-BE49-F238E27FC236}">
                <a16:creationId xmlns:a16="http://schemas.microsoft.com/office/drawing/2014/main" id="{2731B366-8C8D-AC45-A35B-C641A5B4E8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6150" y="0"/>
            <a:ext cx="616585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._Half P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8" descr="andrej-lisakov-518217-unsplash.jpg">
            <a:extLst>
              <a:ext uri="{FF2B5EF4-FFF2-40B4-BE49-F238E27FC236}">
                <a16:creationId xmlns:a16="http://schemas.microsoft.com/office/drawing/2014/main" id="{9C83BAD6-36E9-4B43-A3DA-59BBEAA37A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669" y="0"/>
            <a:ext cx="605155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92751" y="357188"/>
            <a:ext cx="4663396" cy="1233488"/>
          </a:xfrm>
        </p:spPr>
        <p:txBody>
          <a:bodyPr anchor="ctr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F5C2D5-1716-4541-8691-9DA16D4A80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085" y="6126710"/>
            <a:ext cx="1041175" cy="392302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47D39D2-B234-42F4-8061-10762B8A1FD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791163" y="1834215"/>
            <a:ext cx="4664984" cy="313674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7099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5._Key Takeaway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9BC45F2-1935-9912-D7E6-588BF1AD062C}"/>
              </a:ext>
            </a:extLst>
          </p:cNvPr>
          <p:cNvSpPr/>
          <p:nvPr userDrawn="1"/>
        </p:nvSpPr>
        <p:spPr>
          <a:xfrm>
            <a:off x="6041202" y="0"/>
            <a:ext cx="6150798" cy="6867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7145870" y="714409"/>
            <a:ext cx="3932237" cy="3849874"/>
          </a:xfrm>
        </p:spPr>
        <p:txBody>
          <a:bodyPr anchor="ctr"/>
          <a:lstStyle>
            <a:lvl1pPr marL="0" indent="0">
              <a:buClr>
                <a:schemeClr val="bg1"/>
              </a:buClr>
              <a:buNone/>
              <a:defRPr sz="2000" b="1" i="0">
                <a:solidFill>
                  <a:schemeClr val="bg1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4192"/>
            <a:ext cx="1050628" cy="398627"/>
          </a:xfrm>
          <a:prstGeom prst="rect">
            <a:avLst/>
          </a:prstGeom>
        </p:spPr>
      </p:pic>
      <p:sp>
        <p:nvSpPr>
          <p:cNvPr id="6" name="Title 9">
            <a:extLst>
              <a:ext uri="{FF2B5EF4-FFF2-40B4-BE49-F238E27FC236}">
                <a16:creationId xmlns:a16="http://schemas.microsoft.com/office/drawing/2014/main" id="{9E8283C3-D70A-5E4A-818D-A00708E19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2760" y="2024052"/>
            <a:ext cx="2836540" cy="16002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6BC9D09-28C8-0F42-9973-2E447840070D}"/>
              </a:ext>
            </a:extLst>
          </p:cNvPr>
          <p:cNvCxnSpPr/>
          <p:nvPr userDrawn="1"/>
        </p:nvCxnSpPr>
        <p:spPr>
          <a:xfrm>
            <a:off x="1786260" y="202603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._Key Takeaway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340F6D-F6B9-36E7-CEFA-99718254374C}"/>
              </a:ext>
            </a:extLst>
          </p:cNvPr>
          <p:cNvSpPr/>
          <p:nvPr userDrawn="1"/>
        </p:nvSpPr>
        <p:spPr>
          <a:xfrm>
            <a:off x="0" y="0"/>
            <a:ext cx="6026149" cy="6867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202375" y="6322861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7236256" y="714409"/>
            <a:ext cx="3932237" cy="3849874"/>
          </a:xfrm>
        </p:spPr>
        <p:txBody>
          <a:bodyPr anchor="ctr"/>
          <a:lstStyle>
            <a:lvl1pPr marL="0" indent="0" algn="l">
              <a:buClr>
                <a:schemeClr val="bg1"/>
              </a:buClr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9">
            <a:extLst>
              <a:ext uri="{FF2B5EF4-FFF2-40B4-BE49-F238E27FC236}">
                <a16:creationId xmlns:a16="http://schemas.microsoft.com/office/drawing/2014/main" id="{EF16DDC2-B98B-B34F-B942-EADAE7715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2760" y="2024052"/>
            <a:ext cx="2836540" cy="16002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CDC0F97-5A0B-A94A-918B-437B6069EF67}"/>
              </a:ext>
            </a:extLst>
          </p:cNvPr>
          <p:cNvCxnSpPr/>
          <p:nvPr userDrawn="1"/>
        </p:nvCxnSpPr>
        <p:spPr>
          <a:xfrm>
            <a:off x="1786260" y="202603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35367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5121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._Full Page for Content">
    <p:bg>
      <p:bgPr>
        <a:gradFill flip="none" rotWithShape="1">
          <a:gsLst>
            <a:gs pos="15000">
              <a:schemeClr val="accent2"/>
            </a:gs>
            <a:gs pos="100000">
              <a:schemeClr val="accent1">
                <a:shade val="100000"/>
                <a:satMod val="115000"/>
              </a:schemeClr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599" cy="7596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AC927F3-9782-4F15-B2B2-CA75A9AFEA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43278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 marL="233363" indent="-228600">
              <a:defRPr>
                <a:solidFill>
                  <a:schemeClr val="bg1"/>
                </a:solidFill>
                <a:latin typeface="+mn-lt"/>
              </a:defRPr>
            </a:lvl2pPr>
            <a:lvl3pPr marL="457200" indent="-228600">
              <a:defRPr>
                <a:solidFill>
                  <a:schemeClr val="bg1"/>
                </a:solidFill>
                <a:latin typeface="+mn-lt"/>
              </a:defRPr>
            </a:lvl3pPr>
            <a:lvl4pPr marL="690563" indent="-228600">
              <a:defRPr>
                <a:solidFill>
                  <a:schemeClr val="bg1"/>
                </a:solidFill>
                <a:latin typeface="+mn-lt"/>
              </a:defRPr>
            </a:lvl4pPr>
            <a:lvl5pPr marL="914400" indent="-228600"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black screen with white text&#10;&#10;Description automatically generated with low confidence">
            <a:extLst>
              <a:ext uri="{FF2B5EF4-FFF2-40B4-BE49-F238E27FC236}">
                <a16:creationId xmlns:a16="http://schemas.microsoft.com/office/drawing/2014/main" id="{F03AC143-D704-4564-E5F4-3B6D27E96A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606" y="6100695"/>
            <a:ext cx="1109274" cy="441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48491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_Full Page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599" cy="759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838200" y="1343278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52284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_Somo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11224" y="1155566"/>
            <a:ext cx="3103214" cy="117491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accent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_Full Page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599" cy="759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838200" y="1343278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66152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_Full Page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8A469FF-4BD2-C47E-5133-7995FB84CA55}"/>
              </a:ext>
            </a:extLst>
          </p:cNvPr>
          <p:cNvSpPr/>
          <p:nvPr userDrawn="1"/>
        </p:nvSpPr>
        <p:spPr>
          <a:xfrm>
            <a:off x="0" y="5625548"/>
            <a:ext cx="12192000" cy="1232452"/>
          </a:xfrm>
          <a:prstGeom prst="rect">
            <a:avLst/>
          </a:prstGeom>
          <a:gradFill flip="none" rotWithShape="1">
            <a:gsLst>
              <a:gs pos="15000">
                <a:schemeClr val="accent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scree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0900C9-B23F-C23E-7AC7-D810E32BF6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606" y="6100695"/>
            <a:ext cx="1109274" cy="4418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599" cy="759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838200" y="1343278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70409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_Full Page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0B9EF27-E197-D813-F937-6AC304879F85}"/>
              </a:ext>
            </a:extLst>
          </p:cNvPr>
          <p:cNvSpPr/>
          <p:nvPr userDrawn="1"/>
        </p:nvSpPr>
        <p:spPr>
          <a:xfrm>
            <a:off x="0" y="0"/>
            <a:ext cx="12192000" cy="1232452"/>
          </a:xfrm>
          <a:prstGeom prst="rect">
            <a:avLst/>
          </a:prstGeom>
          <a:gradFill flip="none" rotWithShape="1">
            <a:gsLst>
              <a:gs pos="15000">
                <a:schemeClr val="accent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599" cy="7596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838200" y="1343278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05505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_Full Page for Content">
    <p:bg>
      <p:bgPr>
        <a:solidFill>
          <a:schemeClr val="tx1">
            <a:alpha val="1523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599" cy="75966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AC927F3-9782-4F15-B2B2-CA75A9AFEA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43278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11026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._Full Page for Content">
    <p:bg>
      <p:bgPr>
        <a:gradFill flip="none" rotWithShape="1">
          <a:gsLst>
            <a:gs pos="15000">
              <a:schemeClr val="accent2"/>
            </a:gs>
            <a:gs pos="100000">
              <a:schemeClr val="accent1">
                <a:shade val="100000"/>
                <a:satMod val="115000"/>
              </a:schemeClr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599" cy="7596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AC927F3-9782-4F15-B2B2-CA75A9AFEA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43278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 marL="233363" indent="-228600">
              <a:defRPr>
                <a:solidFill>
                  <a:schemeClr val="bg1"/>
                </a:solidFill>
                <a:latin typeface="+mn-lt"/>
              </a:defRPr>
            </a:lvl2pPr>
            <a:lvl3pPr marL="457200" indent="-228600">
              <a:defRPr>
                <a:solidFill>
                  <a:schemeClr val="bg1"/>
                </a:solidFill>
                <a:latin typeface="+mn-lt"/>
              </a:defRPr>
            </a:lvl3pPr>
            <a:lvl4pPr marL="690563" indent="-228600">
              <a:defRPr>
                <a:solidFill>
                  <a:schemeClr val="bg1"/>
                </a:solidFill>
                <a:latin typeface="+mn-lt"/>
              </a:defRPr>
            </a:lvl4pPr>
            <a:lvl5pPr marL="914400" indent="-228600"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black screen with white text&#10;&#10;Description automatically generated with low confidence">
            <a:extLst>
              <a:ext uri="{FF2B5EF4-FFF2-40B4-BE49-F238E27FC236}">
                <a16:creationId xmlns:a16="http://schemas.microsoft.com/office/drawing/2014/main" id="{F03AC143-D704-4564-E5F4-3B6D27E96A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606" y="6100695"/>
            <a:ext cx="1109274" cy="441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2401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_Full Page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38201" y="1778000"/>
            <a:ext cx="10515598" cy="1059794"/>
          </a:xfrm>
        </p:spPr>
        <p:txBody>
          <a:bodyPr anchor="ctr">
            <a:normAutofit/>
          </a:bodyPr>
          <a:lstStyle>
            <a:lvl1pPr algn="ctr">
              <a:defRPr sz="3600">
                <a:solidFill>
                  <a:srgbClr val="30396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202375" y="6322861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idx="13" hasCustomPrompt="1"/>
          </p:nvPr>
        </p:nvSpPr>
        <p:spPr>
          <a:xfrm>
            <a:off x="838200" y="5273575"/>
            <a:ext cx="10515599" cy="454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algn="ctr">
              <a:defRPr sz="1200" b="1" i="0">
                <a:solidFill>
                  <a:schemeClr val="tx1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9202375" y="632286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1" i="0" kern="1200">
                <a:solidFill>
                  <a:schemeClr val="tx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29DF5D-226D-BC4F-AD0E-80139D210728}" type="slidenum">
              <a:rPr lang="en-US" smtClean="0">
                <a:latin typeface="+mn-lt"/>
              </a:rPr>
              <a:pPr/>
              <a:t>‹#›</a:t>
            </a:fld>
            <a:endParaRPr lang="en-US">
              <a:latin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4"/>
          </p:nvPr>
        </p:nvSpPr>
        <p:spPr>
          <a:xfrm>
            <a:off x="838201" y="2991761"/>
            <a:ext cx="10515598" cy="2128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b="1" i="0">
                <a:solidFill>
                  <a:schemeClr val="tx1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5664199" y="660279"/>
            <a:ext cx="863602" cy="1110138"/>
            <a:chOff x="5462952" y="401413"/>
            <a:chExt cx="1266093" cy="1627531"/>
          </a:xfrm>
        </p:grpSpPr>
        <p:sp>
          <p:nvSpPr>
            <p:cNvPr id="20" name="Oval 19"/>
            <p:cNvSpPr/>
            <p:nvPr userDrawn="1"/>
          </p:nvSpPr>
          <p:spPr>
            <a:xfrm>
              <a:off x="5462952" y="401413"/>
              <a:ext cx="1266093" cy="126609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itle 1"/>
            <p:cNvSpPr txBox="1">
              <a:spLocks/>
            </p:cNvSpPr>
            <p:nvPr userDrawn="1"/>
          </p:nvSpPr>
          <p:spPr>
            <a:xfrm>
              <a:off x="5558498" y="1182318"/>
              <a:ext cx="1075005" cy="84662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0" i="0" kern="1200">
                  <a:solidFill>
                    <a:srgbClr val="303960"/>
                  </a:solidFill>
                  <a:latin typeface="SharpSansNo2-Semibold"/>
                  <a:ea typeface="Sharp Sans No2 Bold" charset="0"/>
                  <a:cs typeface="SharpSansNo2-Semibold"/>
                </a:defRPr>
              </a:lvl1pPr>
            </a:lstStyle>
            <a:p>
              <a:r>
                <a:rPr lang="en-US" sz="100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09476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_Full Page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599" cy="604293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838199" y="1137127"/>
            <a:ext cx="10515599" cy="564777"/>
          </a:xfrm>
          <a:prstGeom prst="rect">
            <a:avLst/>
          </a:prstGeom>
        </p:spPr>
        <p:txBody>
          <a:bodyPr anchor="ctr"/>
          <a:lstStyle>
            <a:lvl1pPr>
              <a:defRPr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3FB6E57-A335-4C3D-A372-2F71BD66E4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69285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26470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._Full Page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6757DE1-BBBB-5A3B-9B51-D962A615AB8C}"/>
              </a:ext>
            </a:extLst>
          </p:cNvPr>
          <p:cNvSpPr/>
          <p:nvPr userDrawn="1"/>
        </p:nvSpPr>
        <p:spPr>
          <a:xfrm>
            <a:off x="0" y="1076268"/>
            <a:ext cx="12192000" cy="675064"/>
          </a:xfrm>
          <a:prstGeom prst="rect">
            <a:avLst/>
          </a:prstGeom>
          <a:gradFill flip="none" rotWithShape="1">
            <a:gsLst>
              <a:gs pos="15000">
                <a:schemeClr val="accent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599" cy="604293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838199" y="1137127"/>
            <a:ext cx="10515599" cy="564777"/>
          </a:xfrm>
          <a:prstGeom prst="rect">
            <a:avLst/>
          </a:prstGeom>
        </p:spPr>
        <p:txBody>
          <a:bodyPr anchor="ctr"/>
          <a:lstStyle>
            <a:lvl1pPr>
              <a:defRPr b="1" i="0">
                <a:solidFill>
                  <a:schemeClr val="bg1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3FB6E57-A335-4C3D-A372-2F71BD66E4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69285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544828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_2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B18B696-BD75-4DCB-90C0-E760CDA707B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08059" y="1423969"/>
            <a:ext cx="5145741" cy="3793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FE3EDD-BBB4-4C7F-873E-4CA25FCEE105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38200" y="1423968"/>
            <a:ext cx="5145741" cy="3793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36045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5._2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F286E71-E8A2-EE8F-25E1-22CFFFB47A17}"/>
              </a:ext>
            </a:extLst>
          </p:cNvPr>
          <p:cNvSpPr/>
          <p:nvPr userDrawn="1"/>
        </p:nvSpPr>
        <p:spPr>
          <a:xfrm>
            <a:off x="0" y="5625548"/>
            <a:ext cx="12192000" cy="1232452"/>
          </a:xfrm>
          <a:prstGeom prst="rect">
            <a:avLst/>
          </a:prstGeom>
          <a:gradFill flip="none" rotWithShape="1">
            <a:gsLst>
              <a:gs pos="15000">
                <a:schemeClr val="accent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B18B696-BD75-4DCB-90C0-E760CDA707B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08059" y="1423969"/>
            <a:ext cx="5145741" cy="3793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FE3EDD-BBB4-4C7F-873E-4CA25FCEE105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38200" y="1423968"/>
            <a:ext cx="5145741" cy="3793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black screen with white text&#10;&#10;Description automatically generated with low confidence">
            <a:extLst>
              <a:ext uri="{FF2B5EF4-FFF2-40B4-BE49-F238E27FC236}">
                <a16:creationId xmlns:a16="http://schemas.microsoft.com/office/drawing/2014/main" id="{D185A775-4183-CB69-8636-0BABED9019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606" y="6100695"/>
            <a:ext cx="1109274" cy="441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4533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._TFN Registr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BCEBCC7A-24EA-4D09-A58D-612A72A731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1E8C7A5-FDBC-B142-AE4C-FFEC32E1313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1850" y="1511827"/>
            <a:ext cx="3191947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865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48" userDrawn="1">
          <p15:clr>
            <a:srgbClr val="FBAE40"/>
          </p15:clr>
        </p15:guide>
        <p15:guide id="2" pos="600" userDrawn="1">
          <p15:clr>
            <a:srgbClr val="FBAE40"/>
          </p15:clr>
        </p15:guide>
        <p15:guide id="3" orient="horz" pos="960" userDrawn="1">
          <p15:clr>
            <a:srgbClr val="FBAE40"/>
          </p15:clr>
        </p15:guide>
        <p15:guide id="4" pos="394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._2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D204B39-B391-137E-3288-25BDC87127F4}"/>
              </a:ext>
            </a:extLst>
          </p:cNvPr>
          <p:cNvSpPr/>
          <p:nvPr userDrawn="1"/>
        </p:nvSpPr>
        <p:spPr>
          <a:xfrm>
            <a:off x="0" y="0"/>
            <a:ext cx="12192000" cy="1232452"/>
          </a:xfrm>
          <a:prstGeom prst="rect">
            <a:avLst/>
          </a:prstGeom>
          <a:gradFill flip="none" rotWithShape="1">
            <a:gsLst>
              <a:gs pos="15000">
                <a:schemeClr val="accent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B18B696-BD75-4DCB-90C0-E760CDA707B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08059" y="1423969"/>
            <a:ext cx="5145741" cy="3793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FE3EDD-BBB4-4C7F-873E-4CA25FCEE105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38200" y="1423968"/>
            <a:ext cx="5145741" cy="3793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33992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_2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3845"/>
            <a:ext cx="10515600" cy="78685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3"/>
          </p:nvPr>
        </p:nvSpPr>
        <p:spPr>
          <a:xfrm>
            <a:off x="838200" y="1129402"/>
            <a:ext cx="10515600" cy="564777"/>
          </a:xfrm>
          <a:prstGeom prst="rect">
            <a:avLst/>
          </a:prstGeom>
        </p:spPr>
        <p:txBody>
          <a:bodyPr anchor="ctr"/>
          <a:lstStyle>
            <a:lvl1pPr>
              <a:defRPr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EDC271E-6DAC-40CF-8609-83E97B8B6B87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198" y="2047283"/>
            <a:ext cx="5145741" cy="31784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832F7A8-8952-4C80-BE53-04469517421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08061" y="2047284"/>
            <a:ext cx="5145741" cy="31784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09155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._2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F2E9C92-BEE4-3DA8-170A-705B421C9778}"/>
              </a:ext>
            </a:extLst>
          </p:cNvPr>
          <p:cNvSpPr/>
          <p:nvPr userDrawn="1"/>
        </p:nvSpPr>
        <p:spPr>
          <a:xfrm>
            <a:off x="0" y="1076268"/>
            <a:ext cx="12192000" cy="675064"/>
          </a:xfrm>
          <a:prstGeom prst="rect">
            <a:avLst/>
          </a:prstGeom>
          <a:gradFill flip="none" rotWithShape="1">
            <a:gsLst>
              <a:gs pos="15000">
                <a:schemeClr val="accent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3845"/>
            <a:ext cx="10515600" cy="78685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3"/>
          </p:nvPr>
        </p:nvSpPr>
        <p:spPr>
          <a:xfrm>
            <a:off x="838200" y="1131411"/>
            <a:ext cx="10515600" cy="564777"/>
          </a:xfrm>
          <a:prstGeom prst="rect">
            <a:avLst/>
          </a:prstGeom>
        </p:spPr>
        <p:txBody>
          <a:bodyPr anchor="ctr"/>
          <a:lstStyle>
            <a:lvl1pPr>
              <a:defRPr b="1" i="0">
                <a:solidFill>
                  <a:schemeClr val="bg1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EDC271E-6DAC-40CF-8609-83E97B8B6B87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198" y="2047283"/>
            <a:ext cx="5145741" cy="31784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832F7A8-8952-4C80-BE53-04469517421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08061" y="2047284"/>
            <a:ext cx="5145741" cy="31784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88254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_Half Page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57188"/>
            <a:ext cx="4663396" cy="1233488"/>
          </a:xfrm>
        </p:spPr>
        <p:txBody>
          <a:bodyPr anchor="ctr">
            <a:noAutofit/>
          </a:bodyPr>
          <a:lstStyle>
            <a:lvl1pPr>
              <a:defRPr sz="36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26150" y="1"/>
            <a:ext cx="3082925" cy="343379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idx="15"/>
          </p:nvPr>
        </p:nvSpPr>
        <p:spPr>
          <a:xfrm>
            <a:off x="9109075" y="1"/>
            <a:ext cx="3082925" cy="343379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idx="16"/>
          </p:nvPr>
        </p:nvSpPr>
        <p:spPr>
          <a:xfrm>
            <a:off x="6026151" y="3433796"/>
            <a:ext cx="6165850" cy="344037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1913C18-56B9-46EF-8C74-00D0F93952FA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38199" y="1840078"/>
            <a:ext cx="4664985" cy="31874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319099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_Half Page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92751" y="357188"/>
            <a:ext cx="4663396" cy="1233488"/>
          </a:xfrm>
        </p:spPr>
        <p:txBody>
          <a:bodyPr anchor="ctr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-1" y="1"/>
            <a:ext cx="3082925" cy="343379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idx="15"/>
          </p:nvPr>
        </p:nvSpPr>
        <p:spPr>
          <a:xfrm>
            <a:off x="3082924" y="1"/>
            <a:ext cx="3082925" cy="343379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idx="16"/>
          </p:nvPr>
        </p:nvSpPr>
        <p:spPr>
          <a:xfrm>
            <a:off x="0" y="3433796"/>
            <a:ext cx="6165850" cy="344037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7F2D0F1-8114-412C-B5FA-89C11D78215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792751" y="1837155"/>
            <a:ext cx="4664985" cy="31874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00624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_3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E1F7E51-FBF6-44F7-A2BA-35FF5845D4B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8036860" y="1416369"/>
            <a:ext cx="3316940" cy="38094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318C01-99E2-468B-8661-A54D99522A1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437530" y="1416369"/>
            <a:ext cx="3316940" cy="38094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04A71C7-EB5B-4194-8DD4-711310F640EB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8200" y="1415130"/>
            <a:ext cx="3316940" cy="38094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85131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_3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838201" y="1446322"/>
            <a:ext cx="3316940" cy="564777"/>
          </a:xfrm>
          <a:prstGeom prst="rect">
            <a:avLst/>
          </a:prstGeom>
        </p:spPr>
        <p:txBody>
          <a:bodyPr anchor="t"/>
          <a:lstStyle>
            <a:lvl1pPr>
              <a:defRPr sz="16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6"/>
          </p:nvPr>
        </p:nvSpPr>
        <p:spPr>
          <a:xfrm>
            <a:off x="4437530" y="1446322"/>
            <a:ext cx="3316940" cy="564777"/>
          </a:xfrm>
          <a:prstGeom prst="rect">
            <a:avLst/>
          </a:prstGeom>
        </p:spPr>
        <p:txBody>
          <a:bodyPr anchor="t"/>
          <a:lstStyle>
            <a:lvl1pPr>
              <a:defRPr sz="16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8036861" y="1446322"/>
            <a:ext cx="3316940" cy="564777"/>
          </a:xfrm>
          <a:prstGeom prst="rect">
            <a:avLst/>
          </a:prstGeom>
        </p:spPr>
        <p:txBody>
          <a:bodyPr anchor="t"/>
          <a:lstStyle>
            <a:lvl1pPr>
              <a:defRPr sz="16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A9EA169-72AD-43CC-BDA5-B2BF8BD78CE1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8200" y="2071560"/>
            <a:ext cx="3316940" cy="3837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8492876-9587-457F-A68A-0DEC25667268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4437529" y="2071559"/>
            <a:ext cx="3316940" cy="3837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3A13D8C-94B3-4010-8B7D-09A879213718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8036858" y="2071560"/>
            <a:ext cx="3316940" cy="3837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25191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0._3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0964698-842D-A4D3-CED0-2883DCAF01FA}"/>
              </a:ext>
            </a:extLst>
          </p:cNvPr>
          <p:cNvSpPr/>
          <p:nvPr userDrawn="1"/>
        </p:nvSpPr>
        <p:spPr>
          <a:xfrm>
            <a:off x="0" y="1212436"/>
            <a:ext cx="12192000" cy="798663"/>
          </a:xfrm>
          <a:prstGeom prst="rect">
            <a:avLst/>
          </a:prstGeom>
          <a:gradFill flip="none" rotWithShape="1">
            <a:gsLst>
              <a:gs pos="15000">
                <a:schemeClr val="accent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838201" y="1446322"/>
            <a:ext cx="3316940" cy="564777"/>
          </a:xfrm>
          <a:prstGeom prst="rect">
            <a:avLst/>
          </a:prstGeom>
        </p:spPr>
        <p:txBody>
          <a:bodyPr anchor="t"/>
          <a:lstStyle>
            <a:lvl1pPr>
              <a:defRPr sz="1600" b="1" i="0">
                <a:solidFill>
                  <a:schemeClr val="bg1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6"/>
          </p:nvPr>
        </p:nvSpPr>
        <p:spPr>
          <a:xfrm>
            <a:off x="4437530" y="1446322"/>
            <a:ext cx="3316940" cy="564777"/>
          </a:xfrm>
          <a:prstGeom prst="rect">
            <a:avLst/>
          </a:prstGeom>
        </p:spPr>
        <p:txBody>
          <a:bodyPr anchor="t"/>
          <a:lstStyle>
            <a:lvl1pPr>
              <a:defRPr sz="1600" b="1" i="0">
                <a:solidFill>
                  <a:schemeClr val="bg1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8036861" y="1446322"/>
            <a:ext cx="3316940" cy="564777"/>
          </a:xfrm>
          <a:prstGeom prst="rect">
            <a:avLst/>
          </a:prstGeom>
        </p:spPr>
        <p:txBody>
          <a:bodyPr anchor="t"/>
          <a:lstStyle>
            <a:lvl1pPr>
              <a:defRPr sz="1600" b="1" i="0">
                <a:solidFill>
                  <a:schemeClr val="bg1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A9EA169-72AD-43CC-BDA5-B2BF8BD78CE1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8200" y="2071560"/>
            <a:ext cx="3316940" cy="3837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8492876-9587-457F-A68A-0DEC25667268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4437529" y="2071559"/>
            <a:ext cx="3316940" cy="3837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3A13D8C-94B3-4010-8B7D-09A879213718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8036858" y="2071560"/>
            <a:ext cx="3316940" cy="3837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233363" indent="-228600"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>
              <a:defRPr>
                <a:solidFill>
                  <a:schemeClr val="tx1"/>
                </a:solidFill>
                <a:latin typeface="+mn-lt"/>
              </a:defRPr>
            </a:lvl3pPr>
            <a:lvl4pPr marL="690563" indent="-228600">
              <a:defRPr>
                <a:solidFill>
                  <a:schemeClr val="tx1"/>
                </a:solidFill>
                <a:latin typeface="+mn-lt"/>
              </a:defRPr>
            </a:lvl4pPr>
            <a:lvl5pPr marL="914400" indent="-228600">
              <a:tabLst>
                <a:tab pos="914400" algn="l"/>
              </a:tabLs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91424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.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-1"/>
            <a:ext cx="12192000" cy="68579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1" y="2002889"/>
            <a:ext cx="6477000" cy="1325563"/>
          </a:xfrm>
        </p:spPr>
        <p:txBody>
          <a:bodyPr anchor="b">
            <a:norm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81101" y="4851400"/>
            <a:ext cx="3316940" cy="1572079"/>
          </a:xfrm>
          <a:prstGeom prst="rect">
            <a:avLst/>
          </a:prstGeom>
        </p:spPr>
        <p:txBody>
          <a:bodyPr anchor="t"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475728" y="4357215"/>
            <a:ext cx="2771210" cy="1049215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1181100" y="3463003"/>
            <a:ext cx="6477001" cy="56477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81100" y="4356100"/>
            <a:ext cx="3316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rPr>
              <a:t>Call or Text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2659" y="838488"/>
            <a:ext cx="33169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0">
                <a:solidFill>
                  <a:schemeClr val="tx1"/>
                </a:solidFill>
                <a:latin typeface="+mn-lt"/>
                <a:ea typeface="Sharp Sans No2 Semibold" charset="0"/>
                <a:cs typeface="Sharp Sans No2 Semibold" charset="0"/>
              </a:rPr>
              <a:t>Thank you!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036860" y="5407546"/>
            <a:ext cx="32100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rPr>
              <a:t>somos.com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286441" y="1764431"/>
            <a:ext cx="755607" cy="0"/>
          </a:xfrm>
          <a:prstGeom prst="line">
            <a:avLst/>
          </a:prstGeom>
          <a:ln w="38100" cmpd="sng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19590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1.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1" y="2002889"/>
            <a:ext cx="6477000" cy="1325563"/>
          </a:xfrm>
        </p:spPr>
        <p:txBody>
          <a:bodyPr anchor="b">
            <a:norm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81101" y="4851400"/>
            <a:ext cx="3316940" cy="1572079"/>
          </a:xfrm>
          <a:prstGeom prst="rect">
            <a:avLst/>
          </a:prstGeom>
        </p:spPr>
        <p:txBody>
          <a:bodyPr anchor="t"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475728" y="4357215"/>
            <a:ext cx="2771210" cy="1049215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1181100" y="3463003"/>
            <a:ext cx="6477001" cy="56477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81100" y="4356100"/>
            <a:ext cx="3316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rPr>
              <a:t>Call or Text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2659" y="838488"/>
            <a:ext cx="33169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0">
                <a:solidFill>
                  <a:schemeClr val="tx1"/>
                </a:solidFill>
                <a:latin typeface="+mn-lt"/>
                <a:ea typeface="Sharp Sans No2 Semibold" charset="0"/>
                <a:cs typeface="Sharp Sans No2 Semibold" charset="0"/>
              </a:rPr>
              <a:t>Thank you!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036860" y="5407546"/>
            <a:ext cx="32100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rPr>
              <a:t>somos.com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286441" y="1764431"/>
            <a:ext cx="755607" cy="0"/>
          </a:xfrm>
          <a:prstGeom prst="line">
            <a:avLst/>
          </a:prstGeom>
          <a:ln w="38100" cmpd="sng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80499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._TFN Registry Title Slide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19A5BD1-8512-4BE3-A263-470F50C441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8" cy="3958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2D185EF-6E82-4A42-AC15-4A24AEE613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1850" y="1511827"/>
            <a:ext cx="3191947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44194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1.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331B6A0-16AE-4C3A-2A1C-3FCD6F5C5CB0}"/>
              </a:ext>
            </a:extLst>
          </p:cNvPr>
          <p:cNvSpPr/>
          <p:nvPr userDrawn="1"/>
        </p:nvSpPr>
        <p:spPr>
          <a:xfrm>
            <a:off x="0" y="0"/>
            <a:ext cx="12192000" cy="1629880"/>
          </a:xfrm>
          <a:prstGeom prst="rect">
            <a:avLst/>
          </a:prstGeom>
          <a:gradFill flip="none" rotWithShape="1">
            <a:gsLst>
              <a:gs pos="15000">
                <a:schemeClr val="accent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1" y="2002889"/>
            <a:ext cx="6477000" cy="1325563"/>
          </a:xfrm>
        </p:spPr>
        <p:txBody>
          <a:bodyPr anchor="b">
            <a:norm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81101" y="4851400"/>
            <a:ext cx="3316940" cy="1572079"/>
          </a:xfrm>
          <a:prstGeom prst="rect">
            <a:avLst/>
          </a:prstGeom>
        </p:spPr>
        <p:txBody>
          <a:bodyPr anchor="t"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475728" y="4357215"/>
            <a:ext cx="2771210" cy="1049215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1181100" y="3463003"/>
            <a:ext cx="6477001" cy="56477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solidFill>
                  <a:schemeClr val="accent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81100" y="4356100"/>
            <a:ext cx="3316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rPr>
              <a:t>Call or Text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2659" y="838488"/>
            <a:ext cx="33169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0">
                <a:solidFill>
                  <a:schemeClr val="bg1"/>
                </a:solidFill>
                <a:latin typeface="+mn-lt"/>
                <a:ea typeface="Sharp Sans No2 Semibold" charset="0"/>
                <a:cs typeface="Sharp Sans No2 Semibold" charset="0"/>
              </a:rPr>
              <a:t>Thank you!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036860" y="5407546"/>
            <a:ext cx="32100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b="1" i="0">
                <a:solidFill>
                  <a:schemeClr val="accent2"/>
                </a:solidFill>
                <a:latin typeface="+mn-lt"/>
                <a:ea typeface="Sharp Sans No2 Semibold" charset="0"/>
                <a:cs typeface="Sharp Sans No2 Semibold" charset="0"/>
              </a:rPr>
              <a:t>somos.com</a:t>
            </a:r>
          </a:p>
        </p:txBody>
      </p:sp>
    </p:spTree>
    <p:extLst>
      <p:ext uri="{BB962C8B-B14F-4D97-AF65-F5344CB8AC3E}">
        <p14:creationId xmlns:p14="http://schemas.microsoft.com/office/powerpoint/2010/main" val="42376196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6087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.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639A724-6A94-8F16-F6E5-2286237AD618}"/>
              </a:ext>
            </a:extLst>
          </p:cNvPr>
          <p:cNvSpPr/>
          <p:nvPr userDrawn="1"/>
        </p:nvSpPr>
        <p:spPr>
          <a:xfrm>
            <a:off x="0" y="5625548"/>
            <a:ext cx="12192000" cy="1232452"/>
          </a:xfrm>
          <a:prstGeom prst="rect">
            <a:avLst/>
          </a:prstGeom>
          <a:gradFill flip="none" rotWithShape="1">
            <a:gsLst>
              <a:gs pos="15000">
                <a:schemeClr val="accent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black screen with white text&#10;&#10;Description automatically generated with low confidence">
            <a:extLst>
              <a:ext uri="{FF2B5EF4-FFF2-40B4-BE49-F238E27FC236}">
                <a16:creationId xmlns:a16="http://schemas.microsoft.com/office/drawing/2014/main" id="{3B5B0565-1C5E-9040-5ACB-C240636B04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606" y="6100695"/>
            <a:ext cx="1109274" cy="441880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6833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30819" y="1436740"/>
            <a:ext cx="10126133" cy="4106810"/>
          </a:xfrm>
        </p:spPr>
        <p:txBody>
          <a:bodyPr/>
          <a:lstStyle>
            <a:lvl1pPr>
              <a:defRPr sz="1500">
                <a:solidFill>
                  <a:srgbClr val="3F3F3F"/>
                </a:solidFill>
              </a:defRPr>
            </a:lvl1pPr>
            <a:lvl2pPr>
              <a:spcAft>
                <a:spcPts val="900"/>
              </a:spcAft>
              <a:defRPr sz="1350">
                <a:solidFill>
                  <a:srgbClr val="3F3F3F"/>
                </a:solidFill>
              </a:defRPr>
            </a:lvl2pPr>
            <a:lvl3pPr>
              <a:spcAft>
                <a:spcPts val="900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900"/>
              </a:spcAft>
              <a:defRPr sz="900">
                <a:solidFill>
                  <a:srgbClr val="3F3F3F"/>
                </a:solidFill>
              </a:defRPr>
            </a:lvl4pPr>
            <a:lvl5pPr>
              <a:spcAft>
                <a:spcPts val="900"/>
              </a:spcAft>
              <a:defRPr sz="900">
                <a:solidFill>
                  <a:srgbClr val="3F3F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030819" y="668333"/>
            <a:ext cx="10126133" cy="4693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79820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30820" y="1303345"/>
            <a:ext cx="10126133" cy="29867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his is a subhea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30820" y="1751067"/>
            <a:ext cx="10126133" cy="3792485"/>
          </a:xfrm>
        </p:spPr>
        <p:txBody>
          <a:bodyPr/>
          <a:lstStyle>
            <a:lvl1pPr>
              <a:defRPr sz="1500">
                <a:solidFill>
                  <a:srgbClr val="3F3F3F"/>
                </a:solidFill>
              </a:defRPr>
            </a:lvl1pPr>
            <a:lvl2pPr>
              <a:spcAft>
                <a:spcPts val="900"/>
              </a:spcAft>
              <a:defRPr sz="1350">
                <a:solidFill>
                  <a:srgbClr val="3F3F3F"/>
                </a:solidFill>
              </a:defRPr>
            </a:lvl2pPr>
            <a:lvl3pPr>
              <a:spcAft>
                <a:spcPts val="900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900"/>
              </a:spcAft>
              <a:defRPr sz="900">
                <a:solidFill>
                  <a:srgbClr val="3F3F3F"/>
                </a:solidFill>
              </a:defRPr>
            </a:lvl4pPr>
            <a:lvl5pPr>
              <a:spcAft>
                <a:spcPts val="900"/>
              </a:spcAft>
              <a:defRPr sz="900">
                <a:solidFill>
                  <a:srgbClr val="3F3F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030819" y="668333"/>
            <a:ext cx="10126133" cy="4693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51773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1DFBDB8-D4EA-482C-855B-F72F34C51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1DFBDB8-D4EA-482C-855B-F72F34C5134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017379" y="1300164"/>
            <a:ext cx="10139572" cy="4271963"/>
          </a:xfrm>
        </p:spPr>
        <p:txBody>
          <a:bodyPr/>
          <a:lstStyle>
            <a:lvl1pPr marL="0" indent="0">
              <a:buNone/>
              <a:defRPr sz="1500" b="0" i="1" baseline="0">
                <a:solidFill>
                  <a:srgbClr val="3F3F3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977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72F3A9-D73B-459E-9C44-513167EADE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72F3A9-D73B-459E-9C44-513167EADE3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742672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0698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30820" y="1300159"/>
            <a:ext cx="4696881" cy="4229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64302" y="1300155"/>
            <a:ext cx="4696881" cy="4229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510053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30820" y="1300160"/>
            <a:ext cx="4696881" cy="42576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464302" y="1300155"/>
            <a:ext cx="4696884" cy="42576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7993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._TFN Registr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3039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4293000-799E-CB4D-835B-CDBA88E84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0413" cy="685799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bg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BBE3768-7CC1-45C8-B694-0BAE608DB461}"/>
              </a:ext>
            </a:extLst>
          </p:cNvPr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AA57F5C0-FA60-4928-A677-C3881F5E7E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AAD1623-60F9-2D4C-B6BA-521AA03B98F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831850" y="1511827"/>
            <a:ext cx="319671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20238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Header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017381" y="1239596"/>
            <a:ext cx="10143803" cy="298678"/>
          </a:xfrm>
        </p:spPr>
        <p:txBody>
          <a:bodyPr/>
          <a:lstStyle>
            <a:lvl1pPr marL="0" indent="0">
              <a:buNone/>
              <a:defRPr sz="1500" b="0" i="1" baseline="0">
                <a:solidFill>
                  <a:srgbClr val="3F3F3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017381" y="1684341"/>
            <a:ext cx="4696881" cy="687387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  <a:lvl2pPr marL="171450" indent="-171450">
              <a:buFont typeface="Arial" panose="020B0604020202020204" pitchFamily="34" charset="0"/>
              <a:buChar char="•"/>
              <a:defRPr/>
            </a:lvl2pPr>
            <a:lvl3pPr marL="345281" indent="-133350">
              <a:buFont typeface="Arial" panose="020B0604020202020204" pitchFamily="34" charset="0"/>
              <a:buChar char="–"/>
              <a:defRPr/>
            </a:lvl3pPr>
            <a:lvl4pPr marL="516731" indent="-171450">
              <a:buFont typeface="Arial" panose="020B0604020202020204" pitchFamily="34" charset="0"/>
              <a:buChar char="•"/>
              <a:defRPr/>
            </a:lvl4pPr>
            <a:lvl5pPr marL="641747" indent="-126206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6446632" y="1684341"/>
            <a:ext cx="4696881" cy="687387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  <a:lvl2pPr marL="171450" indent="-171450">
              <a:buFont typeface="Arial" panose="020B0604020202020204" pitchFamily="34" charset="0"/>
              <a:buChar char="•"/>
              <a:defRPr/>
            </a:lvl2pPr>
            <a:lvl3pPr marL="345281" indent="-133350">
              <a:buFont typeface="Arial" panose="020B0604020202020204" pitchFamily="34" charset="0"/>
              <a:buChar char="–"/>
              <a:defRPr/>
            </a:lvl3pPr>
            <a:lvl4pPr marL="516731" indent="-171450">
              <a:buFont typeface="Arial" panose="020B0604020202020204" pitchFamily="34" charset="0"/>
              <a:buChar char="•"/>
              <a:defRPr/>
            </a:lvl4pPr>
            <a:lvl5pPr marL="641747" indent="-126206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11770" y="2371728"/>
            <a:ext cx="4696881" cy="3186113"/>
          </a:xfrm>
        </p:spPr>
        <p:txBody>
          <a:bodyPr/>
          <a:lstStyle>
            <a:lvl1pPr>
              <a:defRPr sz="1500" b="1" i="0"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45252" y="2371728"/>
            <a:ext cx="4696881" cy="3186113"/>
          </a:xfrm>
        </p:spPr>
        <p:txBody>
          <a:bodyPr/>
          <a:lstStyle>
            <a:lvl1pPr>
              <a:defRPr sz="1500"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08575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017379" y="1282460"/>
            <a:ext cx="10139572" cy="298678"/>
          </a:xfrm>
        </p:spPr>
        <p:txBody>
          <a:bodyPr/>
          <a:lstStyle>
            <a:lvl1pPr marL="0" indent="0">
              <a:buNone/>
              <a:defRPr sz="1500" b="1" i="0" baseline="0">
                <a:solidFill>
                  <a:schemeClr val="bg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11770" y="1938867"/>
            <a:ext cx="4696881" cy="3618971"/>
          </a:xfrm>
        </p:spPr>
        <p:txBody>
          <a:bodyPr/>
          <a:lstStyle>
            <a:lvl1pPr>
              <a:defRPr sz="1500" b="1" i="0"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45252" y="1938867"/>
            <a:ext cx="4696881" cy="3618971"/>
          </a:xfrm>
        </p:spPr>
        <p:txBody>
          <a:bodyPr/>
          <a:lstStyle>
            <a:lvl1pPr>
              <a:defRPr sz="1500"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405681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036431" y="1441445"/>
            <a:ext cx="3169920" cy="687387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  <a:lvl2pPr marL="171450" indent="-171450">
              <a:buFont typeface="Arial" panose="020B0604020202020204" pitchFamily="34" charset="0"/>
              <a:buChar char="•"/>
              <a:defRPr/>
            </a:lvl2pPr>
            <a:lvl3pPr marL="345281" indent="-133350">
              <a:buFont typeface="Arial" panose="020B0604020202020204" pitchFamily="34" charset="0"/>
              <a:buChar char="–"/>
              <a:defRPr/>
            </a:lvl3pPr>
            <a:lvl4pPr marL="516731" indent="-171450">
              <a:buFont typeface="Arial" panose="020B0604020202020204" pitchFamily="34" charset="0"/>
              <a:buChar char="•"/>
              <a:defRPr/>
            </a:lvl4pPr>
            <a:lvl5pPr marL="641747" indent="-126206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508957" y="1441445"/>
            <a:ext cx="3169920" cy="687387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  <a:lvl2pPr marL="171450" indent="-171450">
              <a:buFont typeface="Arial" panose="020B0604020202020204" pitchFamily="34" charset="0"/>
              <a:buChar char="•"/>
              <a:defRPr/>
            </a:lvl2pPr>
            <a:lvl3pPr marL="345281" indent="-133350">
              <a:buFont typeface="Arial" panose="020B0604020202020204" pitchFamily="34" charset="0"/>
              <a:buChar char="–"/>
              <a:defRPr/>
            </a:lvl3pPr>
            <a:lvl4pPr marL="516731" indent="-171450">
              <a:buFont typeface="Arial" panose="020B0604020202020204" pitchFamily="34" charset="0"/>
              <a:buChar char="•"/>
              <a:defRPr/>
            </a:lvl4pPr>
            <a:lvl5pPr marL="641747" indent="-126206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7981484" y="1441445"/>
            <a:ext cx="3169920" cy="687387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  <a:lvl2pPr marL="171450" indent="-171450">
              <a:buFont typeface="Arial" panose="020B0604020202020204" pitchFamily="34" charset="0"/>
              <a:buChar char="•"/>
              <a:defRPr/>
            </a:lvl2pPr>
            <a:lvl3pPr marL="345281" indent="-133350">
              <a:buFont typeface="Arial" panose="020B0604020202020204" pitchFamily="34" charset="0"/>
              <a:buChar char="–"/>
              <a:defRPr/>
            </a:lvl3pPr>
            <a:lvl4pPr marL="516731" indent="-171450">
              <a:buFont typeface="Arial" panose="020B0604020202020204" pitchFamily="34" charset="0"/>
              <a:buChar char="•"/>
              <a:defRPr/>
            </a:lvl4pPr>
            <a:lvl5pPr marL="641747" indent="-126206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11770" y="2371728"/>
            <a:ext cx="3194583" cy="3186113"/>
          </a:xfrm>
        </p:spPr>
        <p:txBody>
          <a:bodyPr/>
          <a:lstStyle>
            <a:lvl1pPr>
              <a:defRPr sz="1500" b="1" i="0"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08959" y="2371724"/>
            <a:ext cx="3169920" cy="3186113"/>
          </a:xfrm>
        </p:spPr>
        <p:txBody>
          <a:bodyPr/>
          <a:lstStyle>
            <a:lvl1pPr>
              <a:defRPr sz="1500"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7981484" y="2371723"/>
            <a:ext cx="3169920" cy="3186113"/>
          </a:xfrm>
        </p:spPr>
        <p:txBody>
          <a:bodyPr/>
          <a:lstStyle>
            <a:lvl1pPr>
              <a:defRPr sz="1500"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972708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30820" y="1360497"/>
            <a:ext cx="10126133" cy="29867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his is a subhead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394223" y="1999192"/>
            <a:ext cx="3762728" cy="3186113"/>
          </a:xfrm>
        </p:spPr>
        <p:txBody>
          <a:bodyPr/>
          <a:lstStyle>
            <a:lvl1pPr>
              <a:defRPr sz="1500"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2pPr>
            <a:lvl3pPr>
              <a:defRPr b="1" i="0">
                <a:solidFill>
                  <a:srgbClr val="3F3F3F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3pPr>
            <a:lvl4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4pPr>
            <a:lvl5pPr>
              <a:defRPr b="1" i="0">
                <a:latin typeface="Sharp Sans No2 Semibold" charset="0"/>
                <a:ea typeface="Sharp Sans No2 Semibold" charset="0"/>
                <a:cs typeface="Sharp Sans No2 Semi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7572987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911023" y="1438274"/>
            <a:ext cx="8245929" cy="1204917"/>
          </a:xfrm>
        </p:spPr>
        <p:txBody>
          <a:bodyPr/>
          <a:lstStyle>
            <a:lvl1pPr>
              <a:spcAft>
                <a:spcPts val="225"/>
              </a:spcAft>
              <a:defRPr sz="150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35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96652" y="1438274"/>
            <a:ext cx="1721757" cy="1204917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96652" y="2826310"/>
            <a:ext cx="1721757" cy="1188481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5704" y="4206982"/>
            <a:ext cx="1721757" cy="1188481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2911022" y="2818091"/>
            <a:ext cx="8245929" cy="1204917"/>
          </a:xfrm>
        </p:spPr>
        <p:txBody>
          <a:bodyPr/>
          <a:lstStyle>
            <a:lvl1pPr>
              <a:spcAft>
                <a:spcPts val="225"/>
              </a:spcAft>
              <a:defRPr sz="150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35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2911022" y="4206982"/>
            <a:ext cx="8245929" cy="1204917"/>
          </a:xfrm>
        </p:spPr>
        <p:txBody>
          <a:bodyPr/>
          <a:lstStyle>
            <a:lvl1pPr>
              <a:spcAft>
                <a:spcPts val="225"/>
              </a:spcAft>
              <a:defRPr sz="150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35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917686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hot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96653" y="1395407"/>
            <a:ext cx="1383691" cy="1276356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464301" y="1395407"/>
            <a:ext cx="1383691" cy="1276355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96653" y="2824158"/>
            <a:ext cx="1383691" cy="1276356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6464301" y="2824161"/>
            <a:ext cx="1383691" cy="1276355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996653" y="4252913"/>
            <a:ext cx="1383691" cy="1276356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464301" y="4252916"/>
            <a:ext cx="1383691" cy="1276355"/>
          </a:xfrm>
        </p:spPr>
        <p:txBody>
          <a:bodyPr/>
          <a:lstStyle>
            <a:lvl1pPr marL="0" indent="0">
              <a:buNone/>
              <a:defRPr sz="825"/>
            </a:lvl1pPr>
          </a:lstStyle>
          <a:p>
            <a:endParaRPr lang="en-US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2561065" y="1395407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9"/>
          </p:nvPr>
        </p:nvSpPr>
        <p:spPr>
          <a:xfrm>
            <a:off x="2561065" y="2824161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30"/>
          </p:nvPr>
        </p:nvSpPr>
        <p:spPr>
          <a:xfrm>
            <a:off x="2561065" y="4252916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1"/>
          </p:nvPr>
        </p:nvSpPr>
        <p:spPr>
          <a:xfrm>
            <a:off x="8013600" y="1395407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8013600" y="2824161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33"/>
          </p:nvPr>
        </p:nvSpPr>
        <p:spPr>
          <a:xfrm>
            <a:off x="8013600" y="4252912"/>
            <a:ext cx="3060803" cy="1276355"/>
          </a:xfrm>
        </p:spPr>
        <p:txBody>
          <a:bodyPr/>
          <a:lstStyle>
            <a:lvl1pPr>
              <a:spcAft>
                <a:spcPts val="225"/>
              </a:spcAft>
              <a:defRPr sz="1350">
                <a:solidFill>
                  <a:srgbClr val="3F3F3F"/>
                </a:solidFill>
              </a:defRPr>
            </a:lvl1pPr>
            <a:lvl2pPr>
              <a:spcAft>
                <a:spcPts val="225"/>
              </a:spcAft>
              <a:defRPr sz="1200">
                <a:solidFill>
                  <a:srgbClr val="3F3F3F"/>
                </a:solidFill>
              </a:defRPr>
            </a:lvl2pPr>
            <a:lvl3pPr>
              <a:spcAft>
                <a:spcPts val="225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225"/>
              </a:spcAft>
              <a:defRPr sz="900">
                <a:solidFill>
                  <a:schemeClr val="tx2"/>
                </a:solidFill>
              </a:defRPr>
            </a:lvl4pPr>
            <a:lvl5pPr>
              <a:spcAft>
                <a:spcPts val="225"/>
              </a:spcAft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173271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3" name="Group 1172"/>
          <p:cNvGrpSpPr/>
          <p:nvPr userDrawn="1"/>
        </p:nvGrpSpPr>
        <p:grpSpPr>
          <a:xfrm>
            <a:off x="-268817" y="2910736"/>
            <a:ext cx="12926484" cy="4275082"/>
            <a:chOff x="-201613" y="2910736"/>
            <a:chExt cx="9694863" cy="4275082"/>
          </a:xfrm>
        </p:grpSpPr>
        <p:grpSp>
          <p:nvGrpSpPr>
            <p:cNvPr id="1170" name="Group 1169"/>
            <p:cNvGrpSpPr/>
            <p:nvPr userDrawn="1"/>
          </p:nvGrpSpPr>
          <p:grpSpPr>
            <a:xfrm>
              <a:off x="-201613" y="3290888"/>
              <a:ext cx="9694863" cy="3894930"/>
              <a:chOff x="-201613" y="3290888"/>
              <a:chExt cx="9694863" cy="3894930"/>
            </a:xfrm>
          </p:grpSpPr>
          <p:sp>
            <p:nvSpPr>
              <p:cNvPr id="970" name="Freeform 5"/>
              <p:cNvSpPr>
                <a:spLocks/>
              </p:cNvSpPr>
              <p:nvPr userDrawn="1"/>
            </p:nvSpPr>
            <p:spPr bwMode="auto">
              <a:xfrm>
                <a:off x="3676650" y="32908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1" name="Freeform 6"/>
              <p:cNvSpPr>
                <a:spLocks/>
              </p:cNvSpPr>
              <p:nvPr userDrawn="1"/>
            </p:nvSpPr>
            <p:spPr bwMode="auto">
              <a:xfrm>
                <a:off x="3676650" y="33385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2" name="Freeform 7"/>
              <p:cNvSpPr>
                <a:spLocks/>
              </p:cNvSpPr>
              <p:nvPr userDrawn="1"/>
            </p:nvSpPr>
            <p:spPr bwMode="auto">
              <a:xfrm>
                <a:off x="3676650" y="3387726"/>
                <a:ext cx="874713" cy="874713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7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3" name="Freeform 8"/>
              <p:cNvSpPr>
                <a:spLocks/>
              </p:cNvSpPr>
              <p:nvPr userDrawn="1"/>
            </p:nvSpPr>
            <p:spPr bwMode="auto">
              <a:xfrm>
                <a:off x="3676650" y="3435351"/>
                <a:ext cx="827088" cy="827088"/>
              </a:xfrm>
              <a:custGeom>
                <a:avLst/>
                <a:gdLst>
                  <a:gd name="T0" fmla="*/ 225 w 225"/>
                  <a:gd name="T1" fmla="*/ 225 h 225"/>
                  <a:gd name="T2" fmla="*/ 0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225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4" name="Freeform 9"/>
              <p:cNvSpPr>
                <a:spLocks/>
              </p:cNvSpPr>
              <p:nvPr userDrawn="1"/>
            </p:nvSpPr>
            <p:spPr bwMode="auto">
              <a:xfrm>
                <a:off x="3676650" y="3482976"/>
                <a:ext cx="782638" cy="779463"/>
              </a:xfrm>
              <a:custGeom>
                <a:avLst/>
                <a:gdLst>
                  <a:gd name="T0" fmla="*/ 213 w 213"/>
                  <a:gd name="T1" fmla="*/ 212 h 212"/>
                  <a:gd name="T2" fmla="*/ 0 w 213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213" y="212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5" name="Freeform 10"/>
              <p:cNvSpPr>
                <a:spLocks/>
              </p:cNvSpPr>
              <p:nvPr userDrawn="1"/>
            </p:nvSpPr>
            <p:spPr bwMode="auto">
              <a:xfrm>
                <a:off x="3676650" y="3530601"/>
                <a:ext cx="735013" cy="731838"/>
              </a:xfrm>
              <a:custGeom>
                <a:avLst/>
                <a:gdLst>
                  <a:gd name="T0" fmla="*/ 200 w 200"/>
                  <a:gd name="T1" fmla="*/ 199 h 199"/>
                  <a:gd name="T2" fmla="*/ 0 w 200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200" y="199"/>
                    </a:moveTo>
                    <a:cubicBezTo>
                      <a:pt x="200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6" name="Freeform 11"/>
              <p:cNvSpPr>
                <a:spLocks/>
              </p:cNvSpPr>
              <p:nvPr userDrawn="1"/>
            </p:nvSpPr>
            <p:spPr bwMode="auto">
              <a:xfrm>
                <a:off x="3676650" y="3578226"/>
                <a:ext cx="687388" cy="684213"/>
              </a:xfrm>
              <a:custGeom>
                <a:avLst/>
                <a:gdLst>
                  <a:gd name="T0" fmla="*/ 187 w 187"/>
                  <a:gd name="T1" fmla="*/ 186 h 186"/>
                  <a:gd name="T2" fmla="*/ 0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186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7" name="Freeform 12"/>
              <p:cNvSpPr>
                <a:spLocks/>
              </p:cNvSpPr>
              <p:nvPr userDrawn="1"/>
            </p:nvSpPr>
            <p:spPr bwMode="auto">
              <a:xfrm>
                <a:off x="3676650" y="3622676"/>
                <a:ext cx="639763" cy="639763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8" name="Freeform 13"/>
              <p:cNvSpPr>
                <a:spLocks/>
              </p:cNvSpPr>
              <p:nvPr userDrawn="1"/>
            </p:nvSpPr>
            <p:spPr bwMode="auto">
              <a:xfrm>
                <a:off x="3676650" y="3670301"/>
                <a:ext cx="590550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79" name="Freeform 14"/>
              <p:cNvSpPr>
                <a:spLocks/>
              </p:cNvSpPr>
              <p:nvPr userDrawn="1"/>
            </p:nvSpPr>
            <p:spPr bwMode="auto">
              <a:xfrm>
                <a:off x="3676650" y="3717926"/>
                <a:ext cx="542925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0" name="Freeform 15"/>
              <p:cNvSpPr>
                <a:spLocks/>
              </p:cNvSpPr>
              <p:nvPr userDrawn="1"/>
            </p:nvSpPr>
            <p:spPr bwMode="auto">
              <a:xfrm>
                <a:off x="3676650" y="3765551"/>
                <a:ext cx="495300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1" name="Freeform 16"/>
              <p:cNvSpPr>
                <a:spLocks/>
              </p:cNvSpPr>
              <p:nvPr userDrawn="1"/>
            </p:nvSpPr>
            <p:spPr bwMode="auto">
              <a:xfrm>
                <a:off x="3676650" y="3813176"/>
                <a:ext cx="447675" cy="449263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2" name="Freeform 17"/>
              <p:cNvSpPr>
                <a:spLocks/>
              </p:cNvSpPr>
              <p:nvPr userDrawn="1"/>
            </p:nvSpPr>
            <p:spPr bwMode="auto">
              <a:xfrm>
                <a:off x="3676650" y="3862388"/>
                <a:ext cx="403225" cy="400050"/>
              </a:xfrm>
              <a:custGeom>
                <a:avLst/>
                <a:gdLst>
                  <a:gd name="T0" fmla="*/ 110 w 110"/>
                  <a:gd name="T1" fmla="*/ 109 h 109"/>
                  <a:gd name="T2" fmla="*/ 0 w 110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110" y="109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3" name="Freeform 18"/>
              <p:cNvSpPr>
                <a:spLocks/>
              </p:cNvSpPr>
              <p:nvPr userDrawn="1"/>
            </p:nvSpPr>
            <p:spPr bwMode="auto">
              <a:xfrm>
                <a:off x="3676650" y="3910013"/>
                <a:ext cx="355600" cy="352425"/>
              </a:xfrm>
              <a:custGeom>
                <a:avLst/>
                <a:gdLst>
                  <a:gd name="T0" fmla="*/ 97 w 97"/>
                  <a:gd name="T1" fmla="*/ 96 h 96"/>
                  <a:gd name="T2" fmla="*/ 0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97" y="96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4" name="Freeform 19"/>
              <p:cNvSpPr>
                <a:spLocks/>
              </p:cNvSpPr>
              <p:nvPr userDrawn="1"/>
            </p:nvSpPr>
            <p:spPr bwMode="auto">
              <a:xfrm>
                <a:off x="3676650" y="3952876"/>
                <a:ext cx="307975" cy="309563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8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5" name="Freeform 20"/>
              <p:cNvSpPr>
                <a:spLocks/>
              </p:cNvSpPr>
              <p:nvPr userDrawn="1"/>
            </p:nvSpPr>
            <p:spPr bwMode="auto">
              <a:xfrm>
                <a:off x="3676650" y="4002088"/>
                <a:ext cx="260350" cy="260350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2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6" name="Freeform 21"/>
              <p:cNvSpPr>
                <a:spLocks/>
              </p:cNvSpPr>
              <p:nvPr userDrawn="1"/>
            </p:nvSpPr>
            <p:spPr bwMode="auto">
              <a:xfrm>
                <a:off x="3676650" y="4049713"/>
                <a:ext cx="212725" cy="212725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7" name="Freeform 22"/>
              <p:cNvSpPr>
                <a:spLocks/>
              </p:cNvSpPr>
              <p:nvPr userDrawn="1"/>
            </p:nvSpPr>
            <p:spPr bwMode="auto">
              <a:xfrm>
                <a:off x="3676650" y="4097338"/>
                <a:ext cx="165100" cy="165100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8" name="Freeform 23"/>
              <p:cNvSpPr>
                <a:spLocks/>
              </p:cNvSpPr>
              <p:nvPr userDrawn="1"/>
            </p:nvSpPr>
            <p:spPr bwMode="auto">
              <a:xfrm>
                <a:off x="3676650" y="4144963"/>
                <a:ext cx="117475" cy="117475"/>
              </a:xfrm>
              <a:custGeom>
                <a:avLst/>
                <a:gdLst>
                  <a:gd name="T0" fmla="*/ 32 w 32"/>
                  <a:gd name="T1" fmla="*/ 32 h 32"/>
                  <a:gd name="T2" fmla="*/ 0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32"/>
                    </a:moveTo>
                    <a:cubicBezTo>
                      <a:pt x="32" y="14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89" name="Freeform 24"/>
              <p:cNvSpPr>
                <a:spLocks/>
              </p:cNvSpPr>
              <p:nvPr userDrawn="1"/>
            </p:nvSpPr>
            <p:spPr bwMode="auto">
              <a:xfrm>
                <a:off x="3676650" y="4192588"/>
                <a:ext cx="73025" cy="69850"/>
              </a:xfrm>
              <a:custGeom>
                <a:avLst/>
                <a:gdLst>
                  <a:gd name="T0" fmla="*/ 20 w 20"/>
                  <a:gd name="T1" fmla="*/ 19 h 19"/>
                  <a:gd name="T2" fmla="*/ 0 w 20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20" y="19"/>
                    </a:moveTo>
                    <a:cubicBezTo>
                      <a:pt x="20" y="8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0" name="Freeform 25"/>
              <p:cNvSpPr>
                <a:spLocks/>
              </p:cNvSpPr>
              <p:nvPr userDrawn="1"/>
            </p:nvSpPr>
            <p:spPr bwMode="auto">
              <a:xfrm>
                <a:off x="3676650" y="4240213"/>
                <a:ext cx="25400" cy="22225"/>
              </a:xfrm>
              <a:custGeom>
                <a:avLst/>
                <a:gdLst>
                  <a:gd name="T0" fmla="*/ 7 w 7"/>
                  <a:gd name="T1" fmla="*/ 6 h 6"/>
                  <a:gd name="T2" fmla="*/ 0 w 7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1" name="Freeform 26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2" name="Freeform 27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3" name="Freeform 28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877888" cy="876300"/>
              </a:xfrm>
              <a:custGeom>
                <a:avLst/>
                <a:gdLst>
                  <a:gd name="T0" fmla="*/ 0 w 239"/>
                  <a:gd name="T1" fmla="*/ 238 h 238"/>
                  <a:gd name="T2" fmla="*/ 239 w 239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9" h="238">
                    <a:moveTo>
                      <a:pt x="0" y="238"/>
                    </a:moveTo>
                    <a:cubicBezTo>
                      <a:pt x="132" y="238"/>
                      <a:pt x="239" y="132"/>
                      <a:pt x="23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4" name="Freeform 29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830263" cy="828675"/>
              </a:xfrm>
              <a:custGeom>
                <a:avLst/>
                <a:gdLst>
                  <a:gd name="T0" fmla="*/ 0 w 226"/>
                  <a:gd name="T1" fmla="*/ 225 h 225"/>
                  <a:gd name="T2" fmla="*/ 226 w 226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6" h="225">
                    <a:moveTo>
                      <a:pt x="0" y="225"/>
                    </a:moveTo>
                    <a:cubicBezTo>
                      <a:pt x="125" y="225"/>
                      <a:pt x="226" y="125"/>
                      <a:pt x="22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5" name="Freeform 30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782638" cy="784225"/>
              </a:xfrm>
              <a:custGeom>
                <a:avLst/>
                <a:gdLst>
                  <a:gd name="T0" fmla="*/ 0 w 213"/>
                  <a:gd name="T1" fmla="*/ 213 h 213"/>
                  <a:gd name="T2" fmla="*/ 213 w 213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3">
                    <a:moveTo>
                      <a:pt x="0" y="213"/>
                    </a:moveTo>
                    <a:cubicBezTo>
                      <a:pt x="118" y="213"/>
                      <a:pt x="213" y="118"/>
                      <a:pt x="21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6" name="Freeform 31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735013" cy="736600"/>
              </a:xfrm>
              <a:custGeom>
                <a:avLst/>
                <a:gdLst>
                  <a:gd name="T0" fmla="*/ 0 w 200"/>
                  <a:gd name="T1" fmla="*/ 200 h 200"/>
                  <a:gd name="T2" fmla="*/ 200 w 200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0" y="200"/>
                    </a:moveTo>
                    <a:cubicBezTo>
                      <a:pt x="111" y="200"/>
                      <a:pt x="200" y="111"/>
                      <a:pt x="20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7" name="Freeform 32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685800" cy="688975"/>
              </a:xfrm>
              <a:custGeom>
                <a:avLst/>
                <a:gdLst>
                  <a:gd name="T0" fmla="*/ 0 w 187"/>
                  <a:gd name="T1" fmla="*/ 187 h 187"/>
                  <a:gd name="T2" fmla="*/ 187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187"/>
                    </a:moveTo>
                    <a:cubicBezTo>
                      <a:pt x="104" y="187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8" name="Freeform 33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638175" cy="641350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99" name="Freeform 34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590550" cy="592138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0" name="Freeform 35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542925" cy="544513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1" name="Freeform 36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498475" cy="496888"/>
              </a:xfrm>
              <a:custGeom>
                <a:avLst/>
                <a:gdLst>
                  <a:gd name="T0" fmla="*/ 0 w 136"/>
                  <a:gd name="T1" fmla="*/ 135 h 135"/>
                  <a:gd name="T2" fmla="*/ 136 w 136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6" h="135">
                    <a:moveTo>
                      <a:pt x="0" y="135"/>
                    </a:moveTo>
                    <a:cubicBezTo>
                      <a:pt x="75" y="135"/>
                      <a:pt x="136" y="75"/>
                      <a:pt x="13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2" name="Freeform 37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450850" cy="452438"/>
              </a:xfrm>
              <a:custGeom>
                <a:avLst/>
                <a:gdLst>
                  <a:gd name="T0" fmla="*/ 0 w 123"/>
                  <a:gd name="T1" fmla="*/ 123 h 123"/>
                  <a:gd name="T2" fmla="*/ 123 w 123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3" h="123">
                    <a:moveTo>
                      <a:pt x="0" y="123"/>
                    </a:moveTo>
                    <a:cubicBezTo>
                      <a:pt x="68" y="123"/>
                      <a:pt x="123" y="68"/>
                      <a:pt x="12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3" name="Freeform 38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403225" cy="404813"/>
              </a:xfrm>
              <a:custGeom>
                <a:avLst/>
                <a:gdLst>
                  <a:gd name="T0" fmla="*/ 0 w 110"/>
                  <a:gd name="T1" fmla="*/ 110 h 110"/>
                  <a:gd name="T2" fmla="*/ 110 w 110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10">
                    <a:moveTo>
                      <a:pt x="0" y="110"/>
                    </a:moveTo>
                    <a:cubicBezTo>
                      <a:pt x="61" y="110"/>
                      <a:pt x="110" y="61"/>
                      <a:pt x="11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4" name="Freeform 39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355600" cy="357188"/>
              </a:xfrm>
              <a:custGeom>
                <a:avLst/>
                <a:gdLst>
                  <a:gd name="T0" fmla="*/ 0 w 97"/>
                  <a:gd name="T1" fmla="*/ 97 h 97"/>
                  <a:gd name="T2" fmla="*/ 97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97"/>
                    </a:moveTo>
                    <a:cubicBezTo>
                      <a:pt x="54" y="97"/>
                      <a:pt x="97" y="54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5" name="Freeform 40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307975" cy="309563"/>
              </a:xfrm>
              <a:custGeom>
                <a:avLst/>
                <a:gdLst>
                  <a:gd name="T0" fmla="*/ 0 w 84"/>
                  <a:gd name="T1" fmla="*/ 84 h 84"/>
                  <a:gd name="T2" fmla="*/ 84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84"/>
                    </a:moveTo>
                    <a:cubicBezTo>
                      <a:pt x="47" y="84"/>
                      <a:pt x="84" y="47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6" name="Freeform 41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260350" cy="261938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40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7" name="Freeform 42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212725" cy="214313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8" name="Freeform 43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168275" cy="166688"/>
              </a:xfrm>
              <a:custGeom>
                <a:avLst/>
                <a:gdLst>
                  <a:gd name="T0" fmla="*/ 0 w 46"/>
                  <a:gd name="T1" fmla="*/ 45 h 45"/>
                  <a:gd name="T2" fmla="*/ 46 w 46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5">
                    <a:moveTo>
                      <a:pt x="0" y="45"/>
                    </a:moveTo>
                    <a:cubicBezTo>
                      <a:pt x="25" y="45"/>
                      <a:pt x="46" y="25"/>
                      <a:pt x="4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09" name="Freeform 44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120650" cy="117475"/>
              </a:xfrm>
              <a:custGeom>
                <a:avLst/>
                <a:gdLst>
                  <a:gd name="T0" fmla="*/ 0 w 33"/>
                  <a:gd name="T1" fmla="*/ 32 h 32"/>
                  <a:gd name="T2" fmla="*/ 33 w 33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3" h="32">
                    <a:moveTo>
                      <a:pt x="0" y="32"/>
                    </a:moveTo>
                    <a:cubicBezTo>
                      <a:pt x="18" y="32"/>
                      <a:pt x="33" y="18"/>
                      <a:pt x="3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0" name="Freeform 45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73025" cy="74613"/>
              </a:xfrm>
              <a:custGeom>
                <a:avLst/>
                <a:gdLst>
                  <a:gd name="T0" fmla="*/ 0 w 20"/>
                  <a:gd name="T1" fmla="*/ 20 h 20"/>
                  <a:gd name="T2" fmla="*/ 20 w 20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20">
                    <a:moveTo>
                      <a:pt x="0" y="20"/>
                    </a:moveTo>
                    <a:cubicBezTo>
                      <a:pt x="11" y="20"/>
                      <a:pt x="20" y="11"/>
                      <a:pt x="2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1" name="Freeform 46"/>
              <p:cNvSpPr>
                <a:spLocks/>
              </p:cNvSpPr>
              <p:nvPr userDrawn="1"/>
            </p:nvSpPr>
            <p:spPr bwMode="auto">
              <a:xfrm>
                <a:off x="2706687" y="3290888"/>
                <a:ext cx="25400" cy="26988"/>
              </a:xfrm>
              <a:custGeom>
                <a:avLst/>
                <a:gdLst>
                  <a:gd name="T0" fmla="*/ 0 w 7"/>
                  <a:gd name="T1" fmla="*/ 7 h 7"/>
                  <a:gd name="T2" fmla="*/ 7 w 7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0" y="7"/>
                    </a:moveTo>
                    <a:cubicBezTo>
                      <a:pt x="4" y="7"/>
                      <a:pt x="7" y="4"/>
                      <a:pt x="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2" name="Freeform 47"/>
              <p:cNvSpPr>
                <a:spLocks/>
              </p:cNvSpPr>
              <p:nvPr userDrawn="1"/>
            </p:nvSpPr>
            <p:spPr bwMode="auto">
              <a:xfrm>
                <a:off x="2706687" y="4262438"/>
                <a:ext cx="969963" cy="971550"/>
              </a:xfrm>
              <a:custGeom>
                <a:avLst/>
                <a:gdLst>
                  <a:gd name="T0" fmla="*/ 0 w 264"/>
                  <a:gd name="T1" fmla="*/ 0 h 264"/>
                  <a:gd name="T2" fmla="*/ 264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0"/>
                    </a:moveTo>
                    <a:cubicBezTo>
                      <a:pt x="0" y="146"/>
                      <a:pt x="118" y="264"/>
                      <a:pt x="264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3" name="Freeform 48"/>
              <p:cNvSpPr>
                <a:spLocks/>
              </p:cNvSpPr>
              <p:nvPr userDrawn="1"/>
            </p:nvSpPr>
            <p:spPr bwMode="auto">
              <a:xfrm>
                <a:off x="2754312" y="4262438"/>
                <a:ext cx="922338" cy="923925"/>
              </a:xfrm>
              <a:custGeom>
                <a:avLst/>
                <a:gdLst>
                  <a:gd name="T0" fmla="*/ 0 w 251"/>
                  <a:gd name="T1" fmla="*/ 0 h 251"/>
                  <a:gd name="T2" fmla="*/ 251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0"/>
                    </a:moveTo>
                    <a:cubicBezTo>
                      <a:pt x="0" y="139"/>
                      <a:pt x="113" y="251"/>
                      <a:pt x="251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4" name="Freeform 49"/>
              <p:cNvSpPr>
                <a:spLocks/>
              </p:cNvSpPr>
              <p:nvPr userDrawn="1"/>
            </p:nvSpPr>
            <p:spPr bwMode="auto">
              <a:xfrm>
                <a:off x="2801937" y="4262438"/>
                <a:ext cx="874713" cy="876300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2"/>
                      <a:pt x="107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5" name="Freeform 50"/>
              <p:cNvSpPr>
                <a:spLocks/>
              </p:cNvSpPr>
              <p:nvPr userDrawn="1"/>
            </p:nvSpPr>
            <p:spPr bwMode="auto">
              <a:xfrm>
                <a:off x="2849562" y="4262438"/>
                <a:ext cx="827088" cy="828675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5"/>
                      <a:pt x="101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6" name="Freeform 51"/>
              <p:cNvSpPr>
                <a:spLocks/>
              </p:cNvSpPr>
              <p:nvPr userDrawn="1"/>
            </p:nvSpPr>
            <p:spPr bwMode="auto">
              <a:xfrm>
                <a:off x="2897187" y="4262438"/>
                <a:ext cx="779463" cy="779463"/>
              </a:xfrm>
              <a:custGeom>
                <a:avLst/>
                <a:gdLst>
                  <a:gd name="T0" fmla="*/ 0 w 212"/>
                  <a:gd name="T1" fmla="*/ 0 h 212"/>
                  <a:gd name="T2" fmla="*/ 212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0"/>
                    </a:moveTo>
                    <a:cubicBezTo>
                      <a:pt x="0" y="117"/>
                      <a:pt x="95" y="212"/>
                      <a:pt x="212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7" name="Freeform 52"/>
              <p:cNvSpPr>
                <a:spLocks/>
              </p:cNvSpPr>
              <p:nvPr userDrawn="1"/>
            </p:nvSpPr>
            <p:spPr bwMode="auto">
              <a:xfrm>
                <a:off x="2944812" y="4262438"/>
                <a:ext cx="731838" cy="736600"/>
              </a:xfrm>
              <a:custGeom>
                <a:avLst/>
                <a:gdLst>
                  <a:gd name="T0" fmla="*/ 0 w 199"/>
                  <a:gd name="T1" fmla="*/ 0 h 200"/>
                  <a:gd name="T2" fmla="*/ 199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0"/>
                    </a:moveTo>
                    <a:cubicBezTo>
                      <a:pt x="0" y="110"/>
                      <a:pt x="89" y="200"/>
                      <a:pt x="199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8" name="Freeform 53"/>
              <p:cNvSpPr>
                <a:spLocks/>
              </p:cNvSpPr>
              <p:nvPr userDrawn="1"/>
            </p:nvSpPr>
            <p:spPr bwMode="auto">
              <a:xfrm>
                <a:off x="2992437" y="4262438"/>
                <a:ext cx="684213" cy="687388"/>
              </a:xfrm>
              <a:custGeom>
                <a:avLst/>
                <a:gdLst>
                  <a:gd name="T0" fmla="*/ 0 w 186"/>
                  <a:gd name="T1" fmla="*/ 0 h 187"/>
                  <a:gd name="T2" fmla="*/ 186 w 186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0" y="0"/>
                    </a:moveTo>
                    <a:cubicBezTo>
                      <a:pt x="0" y="103"/>
                      <a:pt x="83" y="187"/>
                      <a:pt x="186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19" name="Freeform 54"/>
              <p:cNvSpPr>
                <a:spLocks/>
              </p:cNvSpPr>
              <p:nvPr userDrawn="1"/>
            </p:nvSpPr>
            <p:spPr bwMode="auto">
              <a:xfrm>
                <a:off x="3040062" y="4262438"/>
                <a:ext cx="636588" cy="639763"/>
              </a:xfrm>
              <a:custGeom>
                <a:avLst/>
                <a:gdLst>
                  <a:gd name="T0" fmla="*/ 0 w 173"/>
                  <a:gd name="T1" fmla="*/ 0 h 174"/>
                  <a:gd name="T2" fmla="*/ 173 w 173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0" y="0"/>
                    </a:moveTo>
                    <a:cubicBezTo>
                      <a:pt x="0" y="96"/>
                      <a:pt x="77" y="174"/>
                      <a:pt x="173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0" name="Freeform 55"/>
              <p:cNvSpPr>
                <a:spLocks/>
              </p:cNvSpPr>
              <p:nvPr userDrawn="1"/>
            </p:nvSpPr>
            <p:spPr bwMode="auto">
              <a:xfrm>
                <a:off x="3084512" y="4262438"/>
                <a:ext cx="592138" cy="592138"/>
              </a:xfrm>
              <a:custGeom>
                <a:avLst/>
                <a:gdLst>
                  <a:gd name="T0" fmla="*/ 0 w 161"/>
                  <a:gd name="T1" fmla="*/ 0 h 161"/>
                  <a:gd name="T2" fmla="*/ 161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0"/>
                    </a:moveTo>
                    <a:cubicBezTo>
                      <a:pt x="0" y="89"/>
                      <a:pt x="72" y="161"/>
                      <a:pt x="161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1" name="Freeform 56"/>
              <p:cNvSpPr>
                <a:spLocks/>
              </p:cNvSpPr>
              <p:nvPr userDrawn="1"/>
            </p:nvSpPr>
            <p:spPr bwMode="auto">
              <a:xfrm>
                <a:off x="3132137" y="4262438"/>
                <a:ext cx="544513" cy="544513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2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2" name="Freeform 57"/>
              <p:cNvSpPr>
                <a:spLocks/>
              </p:cNvSpPr>
              <p:nvPr userDrawn="1"/>
            </p:nvSpPr>
            <p:spPr bwMode="auto">
              <a:xfrm>
                <a:off x="3179762" y="4262438"/>
                <a:ext cx="496888" cy="496888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5"/>
                      <a:pt x="61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3" name="Freeform 58"/>
              <p:cNvSpPr>
                <a:spLocks/>
              </p:cNvSpPr>
              <p:nvPr userDrawn="1"/>
            </p:nvSpPr>
            <p:spPr bwMode="auto">
              <a:xfrm>
                <a:off x="3227387" y="4262438"/>
                <a:ext cx="449263" cy="449263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8"/>
                      <a:pt x="55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4" name="Freeform 59"/>
              <p:cNvSpPr>
                <a:spLocks/>
              </p:cNvSpPr>
              <p:nvPr userDrawn="1"/>
            </p:nvSpPr>
            <p:spPr bwMode="auto">
              <a:xfrm>
                <a:off x="3275012" y="4262438"/>
                <a:ext cx="401638" cy="401638"/>
              </a:xfrm>
              <a:custGeom>
                <a:avLst/>
                <a:gdLst>
                  <a:gd name="T0" fmla="*/ 0 w 109"/>
                  <a:gd name="T1" fmla="*/ 0 h 109"/>
                  <a:gd name="T2" fmla="*/ 109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0"/>
                    </a:moveTo>
                    <a:cubicBezTo>
                      <a:pt x="0" y="61"/>
                      <a:pt x="49" y="109"/>
                      <a:pt x="109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5" name="Freeform 60"/>
              <p:cNvSpPr>
                <a:spLocks/>
              </p:cNvSpPr>
              <p:nvPr userDrawn="1"/>
            </p:nvSpPr>
            <p:spPr bwMode="auto">
              <a:xfrm>
                <a:off x="3322637" y="4262438"/>
                <a:ext cx="354013" cy="357188"/>
              </a:xfrm>
              <a:custGeom>
                <a:avLst/>
                <a:gdLst>
                  <a:gd name="T0" fmla="*/ 0 w 96"/>
                  <a:gd name="T1" fmla="*/ 0 h 97"/>
                  <a:gd name="T2" fmla="*/ 96 w 96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0" y="0"/>
                    </a:moveTo>
                    <a:cubicBezTo>
                      <a:pt x="0" y="53"/>
                      <a:pt x="43" y="97"/>
                      <a:pt x="96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6" name="Freeform 61"/>
              <p:cNvSpPr>
                <a:spLocks/>
              </p:cNvSpPr>
              <p:nvPr userDrawn="1"/>
            </p:nvSpPr>
            <p:spPr bwMode="auto">
              <a:xfrm>
                <a:off x="3371850" y="4262438"/>
                <a:ext cx="304800" cy="309563"/>
              </a:xfrm>
              <a:custGeom>
                <a:avLst/>
                <a:gdLst>
                  <a:gd name="T0" fmla="*/ 0 w 83"/>
                  <a:gd name="T1" fmla="*/ 0 h 84"/>
                  <a:gd name="T2" fmla="*/ 83 w 83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0" y="0"/>
                    </a:moveTo>
                    <a:cubicBezTo>
                      <a:pt x="0" y="46"/>
                      <a:pt x="37" y="84"/>
                      <a:pt x="83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7" name="Freeform 62"/>
              <p:cNvSpPr>
                <a:spLocks/>
              </p:cNvSpPr>
              <p:nvPr userDrawn="1"/>
            </p:nvSpPr>
            <p:spPr bwMode="auto">
              <a:xfrm>
                <a:off x="3414712" y="4262438"/>
                <a:ext cx="261938" cy="261938"/>
              </a:xfrm>
              <a:custGeom>
                <a:avLst/>
                <a:gdLst>
                  <a:gd name="T0" fmla="*/ 0 w 71"/>
                  <a:gd name="T1" fmla="*/ 0 h 71"/>
                  <a:gd name="T2" fmla="*/ 71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0" y="39"/>
                      <a:pt x="32" y="71"/>
                      <a:pt x="71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8" name="Freeform 63"/>
              <p:cNvSpPr>
                <a:spLocks/>
              </p:cNvSpPr>
              <p:nvPr userDrawn="1"/>
            </p:nvSpPr>
            <p:spPr bwMode="auto">
              <a:xfrm>
                <a:off x="3462337" y="4262438"/>
                <a:ext cx="214313" cy="214313"/>
              </a:xfrm>
              <a:custGeom>
                <a:avLst/>
                <a:gdLst>
                  <a:gd name="T0" fmla="*/ 0 w 58"/>
                  <a:gd name="T1" fmla="*/ 0 h 58"/>
                  <a:gd name="T2" fmla="*/ 58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0"/>
                    </a:moveTo>
                    <a:cubicBezTo>
                      <a:pt x="0" y="32"/>
                      <a:pt x="26" y="58"/>
                      <a:pt x="58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29" name="Freeform 64"/>
              <p:cNvSpPr>
                <a:spLocks/>
              </p:cNvSpPr>
              <p:nvPr userDrawn="1"/>
            </p:nvSpPr>
            <p:spPr bwMode="auto">
              <a:xfrm>
                <a:off x="3511550" y="42624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5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0" name="Freeform 65"/>
              <p:cNvSpPr>
                <a:spLocks/>
              </p:cNvSpPr>
              <p:nvPr userDrawn="1"/>
            </p:nvSpPr>
            <p:spPr bwMode="auto">
              <a:xfrm>
                <a:off x="3559175" y="42624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8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1" name="Freeform 66"/>
              <p:cNvSpPr>
                <a:spLocks/>
              </p:cNvSpPr>
              <p:nvPr userDrawn="1"/>
            </p:nvSpPr>
            <p:spPr bwMode="auto">
              <a:xfrm>
                <a:off x="3606800" y="4262438"/>
                <a:ext cx="69850" cy="69850"/>
              </a:xfrm>
              <a:custGeom>
                <a:avLst/>
                <a:gdLst>
                  <a:gd name="T0" fmla="*/ 0 w 19"/>
                  <a:gd name="T1" fmla="*/ 0 h 19"/>
                  <a:gd name="T2" fmla="*/ 19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0"/>
                    </a:moveTo>
                    <a:cubicBezTo>
                      <a:pt x="0" y="11"/>
                      <a:pt x="9" y="19"/>
                      <a:pt x="19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2" name="Freeform 67"/>
              <p:cNvSpPr>
                <a:spLocks/>
              </p:cNvSpPr>
              <p:nvPr userDrawn="1"/>
            </p:nvSpPr>
            <p:spPr bwMode="auto">
              <a:xfrm>
                <a:off x="3654425" y="4262438"/>
                <a:ext cx="22225" cy="25400"/>
              </a:xfrm>
              <a:custGeom>
                <a:avLst/>
                <a:gdLst>
                  <a:gd name="T0" fmla="*/ 0 w 6"/>
                  <a:gd name="T1" fmla="*/ 0 h 7"/>
                  <a:gd name="T2" fmla="*/ 6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cubicBezTo>
                      <a:pt x="0" y="4"/>
                      <a:pt x="3" y="7"/>
                      <a:pt x="6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3" name="Freeform 68"/>
              <p:cNvSpPr>
                <a:spLocks/>
              </p:cNvSpPr>
              <p:nvPr userDrawn="1"/>
            </p:nvSpPr>
            <p:spPr bwMode="auto">
              <a:xfrm>
                <a:off x="3676650" y="4262438"/>
                <a:ext cx="969963" cy="971550"/>
              </a:xfrm>
              <a:custGeom>
                <a:avLst/>
                <a:gdLst>
                  <a:gd name="T0" fmla="*/ 264 w 264"/>
                  <a:gd name="T1" fmla="*/ 0 h 264"/>
                  <a:gd name="T2" fmla="*/ 0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0"/>
                    </a:moveTo>
                    <a:cubicBezTo>
                      <a:pt x="118" y="0"/>
                      <a:pt x="0" y="118"/>
                      <a:pt x="0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4" name="Freeform 69"/>
              <p:cNvSpPr>
                <a:spLocks/>
              </p:cNvSpPr>
              <p:nvPr userDrawn="1"/>
            </p:nvSpPr>
            <p:spPr bwMode="auto">
              <a:xfrm>
                <a:off x="3724275" y="4310063"/>
                <a:ext cx="922338" cy="923925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2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5" name="Freeform 70"/>
              <p:cNvSpPr>
                <a:spLocks/>
              </p:cNvSpPr>
              <p:nvPr userDrawn="1"/>
            </p:nvSpPr>
            <p:spPr bwMode="auto">
              <a:xfrm>
                <a:off x="3771900" y="4357688"/>
                <a:ext cx="874713" cy="876300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6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6" name="Freeform 71"/>
              <p:cNvSpPr>
                <a:spLocks/>
              </p:cNvSpPr>
              <p:nvPr userDrawn="1"/>
            </p:nvSpPr>
            <p:spPr bwMode="auto">
              <a:xfrm>
                <a:off x="3819525" y="4405313"/>
                <a:ext cx="827088" cy="828675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0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7" name="Freeform 72"/>
              <p:cNvSpPr>
                <a:spLocks/>
              </p:cNvSpPr>
              <p:nvPr userDrawn="1"/>
            </p:nvSpPr>
            <p:spPr bwMode="auto">
              <a:xfrm>
                <a:off x="3867150" y="4454526"/>
                <a:ext cx="779463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8" name="Freeform 73"/>
              <p:cNvSpPr>
                <a:spLocks/>
              </p:cNvSpPr>
              <p:nvPr userDrawn="1"/>
            </p:nvSpPr>
            <p:spPr bwMode="auto">
              <a:xfrm>
                <a:off x="3914775" y="4497388"/>
                <a:ext cx="731838" cy="736600"/>
              </a:xfrm>
              <a:custGeom>
                <a:avLst/>
                <a:gdLst>
                  <a:gd name="T0" fmla="*/ 199 w 199"/>
                  <a:gd name="T1" fmla="*/ 0 h 200"/>
                  <a:gd name="T2" fmla="*/ 0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0"/>
                    </a:moveTo>
                    <a:cubicBezTo>
                      <a:pt x="89" y="0"/>
                      <a:pt x="0" y="90"/>
                      <a:pt x="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39" name="Freeform 74"/>
              <p:cNvSpPr>
                <a:spLocks/>
              </p:cNvSpPr>
              <p:nvPr userDrawn="1"/>
            </p:nvSpPr>
            <p:spPr bwMode="auto">
              <a:xfrm>
                <a:off x="3959225" y="4546601"/>
                <a:ext cx="687388" cy="687388"/>
              </a:xfrm>
              <a:custGeom>
                <a:avLst/>
                <a:gdLst>
                  <a:gd name="T0" fmla="*/ 187 w 187"/>
                  <a:gd name="T1" fmla="*/ 0 h 187"/>
                  <a:gd name="T2" fmla="*/ 0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0"/>
                    </a:moveTo>
                    <a:cubicBezTo>
                      <a:pt x="84" y="0"/>
                      <a:pt x="0" y="84"/>
                      <a:pt x="0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0" name="Freeform 75"/>
              <p:cNvSpPr>
                <a:spLocks/>
              </p:cNvSpPr>
              <p:nvPr userDrawn="1"/>
            </p:nvSpPr>
            <p:spPr bwMode="auto">
              <a:xfrm>
                <a:off x="4006850" y="4594226"/>
                <a:ext cx="639763" cy="639763"/>
              </a:xfrm>
              <a:custGeom>
                <a:avLst/>
                <a:gdLst>
                  <a:gd name="T0" fmla="*/ 174 w 174"/>
                  <a:gd name="T1" fmla="*/ 0 h 174"/>
                  <a:gd name="T2" fmla="*/ 0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1" name="Freeform 76"/>
              <p:cNvSpPr>
                <a:spLocks/>
              </p:cNvSpPr>
              <p:nvPr userDrawn="1"/>
            </p:nvSpPr>
            <p:spPr bwMode="auto">
              <a:xfrm>
                <a:off x="4054475" y="4641851"/>
                <a:ext cx="592138" cy="592138"/>
              </a:xfrm>
              <a:custGeom>
                <a:avLst/>
                <a:gdLst>
                  <a:gd name="T0" fmla="*/ 161 w 161"/>
                  <a:gd name="T1" fmla="*/ 0 h 161"/>
                  <a:gd name="T2" fmla="*/ 0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0"/>
                    </a:moveTo>
                    <a:cubicBezTo>
                      <a:pt x="72" y="0"/>
                      <a:pt x="0" y="72"/>
                      <a:pt x="0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2" name="Freeform 77"/>
              <p:cNvSpPr>
                <a:spLocks/>
              </p:cNvSpPr>
              <p:nvPr userDrawn="1"/>
            </p:nvSpPr>
            <p:spPr bwMode="auto">
              <a:xfrm>
                <a:off x="4102100" y="4689476"/>
                <a:ext cx="544513" cy="544513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6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3" name="Freeform 78"/>
              <p:cNvSpPr>
                <a:spLocks/>
              </p:cNvSpPr>
              <p:nvPr userDrawn="1"/>
            </p:nvSpPr>
            <p:spPr bwMode="auto">
              <a:xfrm>
                <a:off x="4149725" y="4737101"/>
                <a:ext cx="496888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0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4" name="Freeform 79"/>
              <p:cNvSpPr>
                <a:spLocks/>
              </p:cNvSpPr>
              <p:nvPr userDrawn="1"/>
            </p:nvSpPr>
            <p:spPr bwMode="auto">
              <a:xfrm>
                <a:off x="4197350" y="4784726"/>
                <a:ext cx="449263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4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5" name="Freeform 80"/>
              <p:cNvSpPr>
                <a:spLocks/>
              </p:cNvSpPr>
              <p:nvPr userDrawn="1"/>
            </p:nvSpPr>
            <p:spPr bwMode="auto">
              <a:xfrm>
                <a:off x="4246562" y="4829176"/>
                <a:ext cx="400050" cy="404813"/>
              </a:xfrm>
              <a:custGeom>
                <a:avLst/>
                <a:gdLst>
                  <a:gd name="T0" fmla="*/ 109 w 109"/>
                  <a:gd name="T1" fmla="*/ 0 h 110"/>
                  <a:gd name="T2" fmla="*/ 0 w 109"/>
                  <a:gd name="T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0"/>
                    </a:moveTo>
                    <a:cubicBezTo>
                      <a:pt x="49" y="0"/>
                      <a:pt x="0" y="49"/>
                      <a:pt x="0" y="11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6" name="Freeform 81"/>
              <p:cNvSpPr>
                <a:spLocks/>
              </p:cNvSpPr>
              <p:nvPr userDrawn="1"/>
            </p:nvSpPr>
            <p:spPr bwMode="auto">
              <a:xfrm>
                <a:off x="4294187" y="4876801"/>
                <a:ext cx="352425" cy="357188"/>
              </a:xfrm>
              <a:custGeom>
                <a:avLst/>
                <a:gdLst>
                  <a:gd name="T0" fmla="*/ 96 w 96"/>
                  <a:gd name="T1" fmla="*/ 0 h 97"/>
                  <a:gd name="T2" fmla="*/ 0 w 96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96" y="0"/>
                    </a:moveTo>
                    <a:cubicBezTo>
                      <a:pt x="43" y="0"/>
                      <a:pt x="0" y="44"/>
                      <a:pt x="0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7" name="Freeform 82"/>
              <p:cNvSpPr>
                <a:spLocks/>
              </p:cNvSpPr>
              <p:nvPr userDrawn="1"/>
            </p:nvSpPr>
            <p:spPr bwMode="auto">
              <a:xfrm>
                <a:off x="4337050" y="4924426"/>
                <a:ext cx="309563" cy="309563"/>
              </a:xfrm>
              <a:custGeom>
                <a:avLst/>
                <a:gdLst>
                  <a:gd name="T0" fmla="*/ 84 w 84"/>
                  <a:gd name="T1" fmla="*/ 0 h 84"/>
                  <a:gd name="T2" fmla="*/ 0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cubicBezTo>
                      <a:pt x="38" y="0"/>
                      <a:pt x="0" y="38"/>
                      <a:pt x="0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8" name="Freeform 83"/>
              <p:cNvSpPr>
                <a:spLocks/>
              </p:cNvSpPr>
              <p:nvPr userDrawn="1"/>
            </p:nvSpPr>
            <p:spPr bwMode="auto">
              <a:xfrm>
                <a:off x="4386262" y="4972051"/>
                <a:ext cx="260350" cy="261938"/>
              </a:xfrm>
              <a:custGeom>
                <a:avLst/>
                <a:gdLst>
                  <a:gd name="T0" fmla="*/ 71 w 71"/>
                  <a:gd name="T1" fmla="*/ 0 h 71"/>
                  <a:gd name="T2" fmla="*/ 0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32" y="0"/>
                      <a:pt x="0" y="32"/>
                      <a:pt x="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49" name="Freeform 84"/>
              <p:cNvSpPr>
                <a:spLocks/>
              </p:cNvSpPr>
              <p:nvPr userDrawn="1"/>
            </p:nvSpPr>
            <p:spPr bwMode="auto">
              <a:xfrm>
                <a:off x="4433887" y="5021263"/>
                <a:ext cx="212725" cy="212725"/>
              </a:xfrm>
              <a:custGeom>
                <a:avLst/>
                <a:gdLst>
                  <a:gd name="T0" fmla="*/ 58 w 58"/>
                  <a:gd name="T1" fmla="*/ 0 h 58"/>
                  <a:gd name="T2" fmla="*/ 0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0"/>
                    </a:moveTo>
                    <a:cubicBezTo>
                      <a:pt x="26" y="0"/>
                      <a:pt x="0" y="26"/>
                      <a:pt x="0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0" name="Freeform 85"/>
              <p:cNvSpPr>
                <a:spLocks/>
              </p:cNvSpPr>
              <p:nvPr userDrawn="1"/>
            </p:nvSpPr>
            <p:spPr bwMode="auto">
              <a:xfrm>
                <a:off x="4481512" y="5068888"/>
                <a:ext cx="165100" cy="165100"/>
              </a:xfrm>
              <a:custGeom>
                <a:avLst/>
                <a:gdLst>
                  <a:gd name="T0" fmla="*/ 45 w 45"/>
                  <a:gd name="T1" fmla="*/ 0 h 45"/>
                  <a:gd name="T2" fmla="*/ 0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1" name="Freeform 86"/>
              <p:cNvSpPr>
                <a:spLocks/>
              </p:cNvSpPr>
              <p:nvPr userDrawn="1"/>
            </p:nvSpPr>
            <p:spPr bwMode="auto">
              <a:xfrm>
                <a:off x="4529137" y="5116513"/>
                <a:ext cx="117475" cy="117475"/>
              </a:xfrm>
              <a:custGeom>
                <a:avLst/>
                <a:gdLst>
                  <a:gd name="T0" fmla="*/ 32 w 32"/>
                  <a:gd name="T1" fmla="*/ 0 h 32"/>
                  <a:gd name="T2" fmla="*/ 0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0"/>
                    </a:moveTo>
                    <a:cubicBezTo>
                      <a:pt x="14" y="0"/>
                      <a:pt x="0" y="14"/>
                      <a:pt x="0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2" name="Freeform 87"/>
              <p:cNvSpPr>
                <a:spLocks/>
              </p:cNvSpPr>
              <p:nvPr userDrawn="1"/>
            </p:nvSpPr>
            <p:spPr bwMode="auto">
              <a:xfrm>
                <a:off x="4576762" y="5164138"/>
                <a:ext cx="69850" cy="69850"/>
              </a:xfrm>
              <a:custGeom>
                <a:avLst/>
                <a:gdLst>
                  <a:gd name="T0" fmla="*/ 19 w 19"/>
                  <a:gd name="T1" fmla="*/ 0 h 19"/>
                  <a:gd name="T2" fmla="*/ 0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0"/>
                    </a:moveTo>
                    <a:cubicBezTo>
                      <a:pt x="8" y="0"/>
                      <a:pt x="0" y="8"/>
                      <a:pt x="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3" name="Freeform 88"/>
              <p:cNvSpPr>
                <a:spLocks/>
              </p:cNvSpPr>
              <p:nvPr userDrawn="1"/>
            </p:nvSpPr>
            <p:spPr bwMode="auto">
              <a:xfrm>
                <a:off x="4624387" y="5208588"/>
                <a:ext cx="22225" cy="25400"/>
              </a:xfrm>
              <a:custGeom>
                <a:avLst/>
                <a:gdLst>
                  <a:gd name="T0" fmla="*/ 6 w 6"/>
                  <a:gd name="T1" fmla="*/ 0 h 7"/>
                  <a:gd name="T2" fmla="*/ 0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0"/>
                    </a:moveTo>
                    <a:cubicBezTo>
                      <a:pt x="2" y="0"/>
                      <a:pt x="0" y="3"/>
                      <a:pt x="0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4" name="Freeform 89"/>
              <p:cNvSpPr>
                <a:spLocks/>
              </p:cNvSpPr>
              <p:nvPr userDrawn="1"/>
            </p:nvSpPr>
            <p:spPr bwMode="auto">
              <a:xfrm>
                <a:off x="1739900" y="3290888"/>
                <a:ext cx="966788" cy="971550"/>
              </a:xfrm>
              <a:custGeom>
                <a:avLst/>
                <a:gdLst>
                  <a:gd name="T0" fmla="*/ 263 w 263"/>
                  <a:gd name="T1" fmla="*/ 264 h 264"/>
                  <a:gd name="T2" fmla="*/ 0 w 263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263" y="264"/>
                    </a:moveTo>
                    <a:cubicBezTo>
                      <a:pt x="263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5" name="Freeform 90"/>
              <p:cNvSpPr>
                <a:spLocks/>
              </p:cNvSpPr>
              <p:nvPr userDrawn="1"/>
            </p:nvSpPr>
            <p:spPr bwMode="auto">
              <a:xfrm>
                <a:off x="1739900" y="33385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6" name="Freeform 91"/>
              <p:cNvSpPr>
                <a:spLocks/>
              </p:cNvSpPr>
              <p:nvPr userDrawn="1"/>
            </p:nvSpPr>
            <p:spPr bwMode="auto">
              <a:xfrm>
                <a:off x="1739900" y="3387726"/>
                <a:ext cx="874713" cy="874713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7"/>
                      <a:pt x="13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7" name="Freeform 92"/>
              <p:cNvSpPr>
                <a:spLocks/>
              </p:cNvSpPr>
              <p:nvPr userDrawn="1"/>
            </p:nvSpPr>
            <p:spPr bwMode="auto">
              <a:xfrm>
                <a:off x="1739900" y="3435351"/>
                <a:ext cx="827088" cy="827088"/>
              </a:xfrm>
              <a:custGeom>
                <a:avLst/>
                <a:gdLst>
                  <a:gd name="T0" fmla="*/ 225 w 225"/>
                  <a:gd name="T1" fmla="*/ 225 h 225"/>
                  <a:gd name="T2" fmla="*/ 0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225"/>
                    </a:moveTo>
                    <a:cubicBezTo>
                      <a:pt x="225" y="101"/>
                      <a:pt x="12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8" name="Freeform 93"/>
              <p:cNvSpPr>
                <a:spLocks/>
              </p:cNvSpPr>
              <p:nvPr userDrawn="1"/>
            </p:nvSpPr>
            <p:spPr bwMode="auto">
              <a:xfrm>
                <a:off x="1739900" y="3482976"/>
                <a:ext cx="777875" cy="779463"/>
              </a:xfrm>
              <a:custGeom>
                <a:avLst/>
                <a:gdLst>
                  <a:gd name="T0" fmla="*/ 212 w 212"/>
                  <a:gd name="T1" fmla="*/ 212 h 212"/>
                  <a:gd name="T2" fmla="*/ 0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212"/>
                    </a:moveTo>
                    <a:cubicBezTo>
                      <a:pt x="212" y="95"/>
                      <a:pt x="11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59" name="Freeform 94"/>
              <p:cNvSpPr>
                <a:spLocks/>
              </p:cNvSpPr>
              <p:nvPr userDrawn="1"/>
            </p:nvSpPr>
            <p:spPr bwMode="auto">
              <a:xfrm>
                <a:off x="1739900" y="3530601"/>
                <a:ext cx="730250" cy="731838"/>
              </a:xfrm>
              <a:custGeom>
                <a:avLst/>
                <a:gdLst>
                  <a:gd name="T0" fmla="*/ 199 w 199"/>
                  <a:gd name="T1" fmla="*/ 199 h 199"/>
                  <a:gd name="T2" fmla="*/ 0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199"/>
                    </a:moveTo>
                    <a:cubicBezTo>
                      <a:pt x="199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0" name="Freeform 95"/>
              <p:cNvSpPr>
                <a:spLocks/>
              </p:cNvSpPr>
              <p:nvPr userDrawn="1"/>
            </p:nvSpPr>
            <p:spPr bwMode="auto">
              <a:xfrm>
                <a:off x="1739900" y="3578226"/>
                <a:ext cx="682625" cy="684213"/>
              </a:xfrm>
              <a:custGeom>
                <a:avLst/>
                <a:gdLst>
                  <a:gd name="T0" fmla="*/ 186 w 186"/>
                  <a:gd name="T1" fmla="*/ 186 h 186"/>
                  <a:gd name="T2" fmla="*/ 0 w 186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186" y="186"/>
                    </a:moveTo>
                    <a:cubicBezTo>
                      <a:pt x="186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1" name="Freeform 96"/>
              <p:cNvSpPr>
                <a:spLocks/>
              </p:cNvSpPr>
              <p:nvPr userDrawn="1"/>
            </p:nvSpPr>
            <p:spPr bwMode="auto">
              <a:xfrm>
                <a:off x="1739900" y="3622676"/>
                <a:ext cx="635000" cy="639763"/>
              </a:xfrm>
              <a:custGeom>
                <a:avLst/>
                <a:gdLst>
                  <a:gd name="T0" fmla="*/ 173 w 173"/>
                  <a:gd name="T1" fmla="*/ 174 h 174"/>
                  <a:gd name="T2" fmla="*/ 0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173" y="174"/>
                    </a:moveTo>
                    <a:cubicBezTo>
                      <a:pt x="173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2" name="Freeform 97"/>
              <p:cNvSpPr>
                <a:spLocks/>
              </p:cNvSpPr>
              <p:nvPr userDrawn="1"/>
            </p:nvSpPr>
            <p:spPr bwMode="auto">
              <a:xfrm>
                <a:off x="1739900" y="3670301"/>
                <a:ext cx="590550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3" name="Freeform 98"/>
              <p:cNvSpPr>
                <a:spLocks/>
              </p:cNvSpPr>
              <p:nvPr userDrawn="1"/>
            </p:nvSpPr>
            <p:spPr bwMode="auto">
              <a:xfrm>
                <a:off x="1739900" y="3717926"/>
                <a:ext cx="542925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4" name="Freeform 99"/>
              <p:cNvSpPr>
                <a:spLocks/>
              </p:cNvSpPr>
              <p:nvPr userDrawn="1"/>
            </p:nvSpPr>
            <p:spPr bwMode="auto">
              <a:xfrm>
                <a:off x="1739900" y="3765551"/>
                <a:ext cx="495300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5" name="Freeform 100"/>
              <p:cNvSpPr>
                <a:spLocks/>
              </p:cNvSpPr>
              <p:nvPr userDrawn="1"/>
            </p:nvSpPr>
            <p:spPr bwMode="auto">
              <a:xfrm>
                <a:off x="1739900" y="3813176"/>
                <a:ext cx="447675" cy="449263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cubicBezTo>
                      <a:pt x="122" y="55"/>
                      <a:pt x="6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6" name="Freeform 101"/>
              <p:cNvSpPr>
                <a:spLocks/>
              </p:cNvSpPr>
              <p:nvPr userDrawn="1"/>
            </p:nvSpPr>
            <p:spPr bwMode="auto">
              <a:xfrm>
                <a:off x="1739900" y="3862388"/>
                <a:ext cx="400050" cy="400050"/>
              </a:xfrm>
              <a:custGeom>
                <a:avLst/>
                <a:gdLst>
                  <a:gd name="T0" fmla="*/ 109 w 109"/>
                  <a:gd name="T1" fmla="*/ 109 h 109"/>
                  <a:gd name="T2" fmla="*/ 0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109"/>
                    </a:moveTo>
                    <a:cubicBezTo>
                      <a:pt x="109" y="49"/>
                      <a:pt x="6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7" name="Freeform 102"/>
              <p:cNvSpPr>
                <a:spLocks/>
              </p:cNvSpPr>
              <p:nvPr userDrawn="1"/>
            </p:nvSpPr>
            <p:spPr bwMode="auto">
              <a:xfrm>
                <a:off x="1739900" y="3910013"/>
                <a:ext cx="352425" cy="352425"/>
              </a:xfrm>
              <a:custGeom>
                <a:avLst/>
                <a:gdLst>
                  <a:gd name="T0" fmla="*/ 96 w 96"/>
                  <a:gd name="T1" fmla="*/ 96 h 96"/>
                  <a:gd name="T2" fmla="*/ 0 w 96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96" y="96"/>
                    </a:moveTo>
                    <a:cubicBezTo>
                      <a:pt x="96" y="43"/>
                      <a:pt x="5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8" name="Freeform 103"/>
              <p:cNvSpPr>
                <a:spLocks/>
              </p:cNvSpPr>
              <p:nvPr userDrawn="1"/>
            </p:nvSpPr>
            <p:spPr bwMode="auto">
              <a:xfrm>
                <a:off x="1739900" y="3952876"/>
                <a:ext cx="304800" cy="309563"/>
              </a:xfrm>
              <a:custGeom>
                <a:avLst/>
                <a:gdLst>
                  <a:gd name="T0" fmla="*/ 83 w 83"/>
                  <a:gd name="T1" fmla="*/ 84 h 84"/>
                  <a:gd name="T2" fmla="*/ 0 w 83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83" y="84"/>
                    </a:moveTo>
                    <a:cubicBezTo>
                      <a:pt x="83" y="38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69" name="Freeform 104"/>
              <p:cNvSpPr>
                <a:spLocks/>
              </p:cNvSpPr>
              <p:nvPr userDrawn="1"/>
            </p:nvSpPr>
            <p:spPr bwMode="auto">
              <a:xfrm>
                <a:off x="1739900" y="4002088"/>
                <a:ext cx="257175" cy="260350"/>
              </a:xfrm>
              <a:custGeom>
                <a:avLst/>
                <a:gdLst>
                  <a:gd name="T0" fmla="*/ 70 w 70"/>
                  <a:gd name="T1" fmla="*/ 71 h 71"/>
                  <a:gd name="T2" fmla="*/ 0 w 70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70" y="71"/>
                    </a:moveTo>
                    <a:cubicBezTo>
                      <a:pt x="70" y="32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0" name="Freeform 105"/>
              <p:cNvSpPr>
                <a:spLocks/>
              </p:cNvSpPr>
              <p:nvPr userDrawn="1"/>
            </p:nvSpPr>
            <p:spPr bwMode="auto">
              <a:xfrm>
                <a:off x="1739900" y="4049713"/>
                <a:ext cx="212725" cy="212725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1" name="Freeform 106"/>
              <p:cNvSpPr>
                <a:spLocks/>
              </p:cNvSpPr>
              <p:nvPr userDrawn="1"/>
            </p:nvSpPr>
            <p:spPr bwMode="auto">
              <a:xfrm>
                <a:off x="1739900" y="4097338"/>
                <a:ext cx="165100" cy="165100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2" name="Freeform 107"/>
              <p:cNvSpPr>
                <a:spLocks/>
              </p:cNvSpPr>
              <p:nvPr userDrawn="1"/>
            </p:nvSpPr>
            <p:spPr bwMode="auto">
              <a:xfrm>
                <a:off x="1739900" y="4144963"/>
                <a:ext cx="117475" cy="117475"/>
              </a:xfrm>
              <a:custGeom>
                <a:avLst/>
                <a:gdLst>
                  <a:gd name="T0" fmla="*/ 32 w 32"/>
                  <a:gd name="T1" fmla="*/ 32 h 32"/>
                  <a:gd name="T2" fmla="*/ 0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32"/>
                    </a:moveTo>
                    <a:cubicBezTo>
                      <a:pt x="32" y="14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3" name="Freeform 108"/>
              <p:cNvSpPr>
                <a:spLocks/>
              </p:cNvSpPr>
              <p:nvPr userDrawn="1"/>
            </p:nvSpPr>
            <p:spPr bwMode="auto">
              <a:xfrm>
                <a:off x="1739900" y="4192588"/>
                <a:ext cx="69850" cy="69850"/>
              </a:xfrm>
              <a:custGeom>
                <a:avLst/>
                <a:gdLst>
                  <a:gd name="T0" fmla="*/ 19 w 19"/>
                  <a:gd name="T1" fmla="*/ 19 h 19"/>
                  <a:gd name="T2" fmla="*/ 0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19"/>
                    </a:moveTo>
                    <a:cubicBezTo>
                      <a:pt x="19" y="8"/>
                      <a:pt x="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4" name="Freeform 109"/>
              <p:cNvSpPr>
                <a:spLocks/>
              </p:cNvSpPr>
              <p:nvPr userDrawn="1"/>
            </p:nvSpPr>
            <p:spPr bwMode="auto">
              <a:xfrm>
                <a:off x="1739900" y="4240213"/>
                <a:ext cx="22225" cy="22225"/>
              </a:xfrm>
              <a:custGeom>
                <a:avLst/>
                <a:gdLst>
                  <a:gd name="T0" fmla="*/ 6 w 6"/>
                  <a:gd name="T1" fmla="*/ 6 h 6"/>
                  <a:gd name="T2" fmla="*/ 0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cubicBezTo>
                      <a:pt x="6" y="3"/>
                      <a:pt x="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5" name="Freeform 110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971550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6" name="Freeform 111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923925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7" name="Freeform 112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874713" cy="876300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2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8" name="Freeform 113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827088" cy="828675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5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79" name="Freeform 114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779463" cy="784225"/>
              </a:xfrm>
              <a:custGeom>
                <a:avLst/>
                <a:gdLst>
                  <a:gd name="T0" fmla="*/ 0 w 212"/>
                  <a:gd name="T1" fmla="*/ 213 h 213"/>
                  <a:gd name="T2" fmla="*/ 212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0" y="213"/>
                    </a:moveTo>
                    <a:cubicBezTo>
                      <a:pt x="117" y="213"/>
                      <a:pt x="212" y="118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0" name="Freeform 115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731838" cy="736600"/>
              </a:xfrm>
              <a:custGeom>
                <a:avLst/>
                <a:gdLst>
                  <a:gd name="T0" fmla="*/ 0 w 199"/>
                  <a:gd name="T1" fmla="*/ 200 h 200"/>
                  <a:gd name="T2" fmla="*/ 199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200"/>
                    </a:moveTo>
                    <a:cubicBezTo>
                      <a:pt x="110" y="200"/>
                      <a:pt x="199" y="111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1" name="Freeform 116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687388" cy="688975"/>
              </a:xfrm>
              <a:custGeom>
                <a:avLst/>
                <a:gdLst>
                  <a:gd name="T0" fmla="*/ 0 w 187"/>
                  <a:gd name="T1" fmla="*/ 187 h 187"/>
                  <a:gd name="T2" fmla="*/ 187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187"/>
                    </a:moveTo>
                    <a:cubicBezTo>
                      <a:pt x="103" y="187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2" name="Freeform 117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639763" cy="641350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3" name="Freeform 118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592138" cy="592138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4" name="Freeform 119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544513" cy="544513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5" name="Freeform 120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496888" cy="496888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6" name="Freeform 121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449263" cy="452438"/>
              </a:xfrm>
              <a:custGeom>
                <a:avLst/>
                <a:gdLst>
                  <a:gd name="T0" fmla="*/ 0 w 122"/>
                  <a:gd name="T1" fmla="*/ 123 h 123"/>
                  <a:gd name="T2" fmla="*/ 122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0" y="123"/>
                    </a:moveTo>
                    <a:cubicBezTo>
                      <a:pt x="68" y="123"/>
                      <a:pt x="122" y="68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7" name="Freeform 122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401638" cy="404813"/>
              </a:xfrm>
              <a:custGeom>
                <a:avLst/>
                <a:gdLst>
                  <a:gd name="T0" fmla="*/ 0 w 109"/>
                  <a:gd name="T1" fmla="*/ 110 h 110"/>
                  <a:gd name="T2" fmla="*/ 109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0" y="110"/>
                    </a:moveTo>
                    <a:cubicBezTo>
                      <a:pt x="60" y="110"/>
                      <a:pt x="109" y="61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8" name="Freeform 123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354013" cy="357188"/>
              </a:xfrm>
              <a:custGeom>
                <a:avLst/>
                <a:gdLst>
                  <a:gd name="T0" fmla="*/ 0 w 96"/>
                  <a:gd name="T1" fmla="*/ 97 h 97"/>
                  <a:gd name="T2" fmla="*/ 96 w 96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0" y="97"/>
                    </a:moveTo>
                    <a:cubicBezTo>
                      <a:pt x="53" y="97"/>
                      <a:pt x="96" y="54"/>
                      <a:pt x="9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89" name="Freeform 124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309563" cy="309563"/>
              </a:xfrm>
              <a:custGeom>
                <a:avLst/>
                <a:gdLst>
                  <a:gd name="T0" fmla="*/ 0 w 84"/>
                  <a:gd name="T1" fmla="*/ 84 h 84"/>
                  <a:gd name="T2" fmla="*/ 84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84"/>
                    </a:moveTo>
                    <a:cubicBezTo>
                      <a:pt x="46" y="84"/>
                      <a:pt x="84" y="47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0" name="Freeform 125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261938" cy="261938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1" name="Freeform 126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214313" cy="214313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2" name="Freeform 127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166688" cy="166688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3" name="Freeform 128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119063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4" name="Freeform 129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69850" cy="74613"/>
              </a:xfrm>
              <a:custGeom>
                <a:avLst/>
                <a:gdLst>
                  <a:gd name="T0" fmla="*/ 0 w 19"/>
                  <a:gd name="T1" fmla="*/ 20 h 20"/>
                  <a:gd name="T2" fmla="*/ 19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0" y="20"/>
                    </a:moveTo>
                    <a:cubicBezTo>
                      <a:pt x="11" y="20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5" name="Freeform 130"/>
              <p:cNvSpPr>
                <a:spLocks/>
              </p:cNvSpPr>
              <p:nvPr userDrawn="1"/>
            </p:nvSpPr>
            <p:spPr bwMode="auto">
              <a:xfrm>
                <a:off x="768350" y="3290888"/>
                <a:ext cx="22225" cy="26988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4" y="7"/>
                      <a:pt x="6" y="4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6" name="Freeform 131"/>
              <p:cNvSpPr>
                <a:spLocks/>
              </p:cNvSpPr>
              <p:nvPr userDrawn="1"/>
            </p:nvSpPr>
            <p:spPr bwMode="auto">
              <a:xfrm>
                <a:off x="768350" y="4262438"/>
                <a:ext cx="971550" cy="971550"/>
              </a:xfrm>
              <a:custGeom>
                <a:avLst/>
                <a:gdLst>
                  <a:gd name="T0" fmla="*/ 0 w 264"/>
                  <a:gd name="T1" fmla="*/ 0 h 264"/>
                  <a:gd name="T2" fmla="*/ 264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0"/>
                    </a:moveTo>
                    <a:cubicBezTo>
                      <a:pt x="0" y="146"/>
                      <a:pt x="118" y="264"/>
                      <a:pt x="264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7" name="Freeform 132"/>
              <p:cNvSpPr>
                <a:spLocks/>
              </p:cNvSpPr>
              <p:nvPr userDrawn="1"/>
            </p:nvSpPr>
            <p:spPr bwMode="auto">
              <a:xfrm>
                <a:off x="817562" y="4262438"/>
                <a:ext cx="922338" cy="923925"/>
              </a:xfrm>
              <a:custGeom>
                <a:avLst/>
                <a:gdLst>
                  <a:gd name="T0" fmla="*/ 0 w 251"/>
                  <a:gd name="T1" fmla="*/ 0 h 251"/>
                  <a:gd name="T2" fmla="*/ 251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0"/>
                    </a:moveTo>
                    <a:cubicBezTo>
                      <a:pt x="0" y="139"/>
                      <a:pt x="112" y="251"/>
                      <a:pt x="251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8" name="Freeform 133"/>
              <p:cNvSpPr>
                <a:spLocks/>
              </p:cNvSpPr>
              <p:nvPr userDrawn="1"/>
            </p:nvSpPr>
            <p:spPr bwMode="auto">
              <a:xfrm>
                <a:off x="865187" y="4262438"/>
                <a:ext cx="874713" cy="876300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2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099" name="Freeform 134"/>
              <p:cNvSpPr>
                <a:spLocks/>
              </p:cNvSpPr>
              <p:nvPr userDrawn="1"/>
            </p:nvSpPr>
            <p:spPr bwMode="auto">
              <a:xfrm>
                <a:off x="912812" y="4262438"/>
                <a:ext cx="827088" cy="828675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5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0" name="Freeform 135"/>
              <p:cNvSpPr>
                <a:spLocks/>
              </p:cNvSpPr>
              <p:nvPr userDrawn="1"/>
            </p:nvSpPr>
            <p:spPr bwMode="auto">
              <a:xfrm>
                <a:off x="957262" y="4262438"/>
                <a:ext cx="782638" cy="779463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1" name="Freeform 136"/>
              <p:cNvSpPr>
                <a:spLocks/>
              </p:cNvSpPr>
              <p:nvPr userDrawn="1"/>
            </p:nvSpPr>
            <p:spPr bwMode="auto">
              <a:xfrm>
                <a:off x="1004887" y="4262438"/>
                <a:ext cx="735013" cy="736600"/>
              </a:xfrm>
              <a:custGeom>
                <a:avLst/>
                <a:gdLst>
                  <a:gd name="T0" fmla="*/ 0 w 200"/>
                  <a:gd name="T1" fmla="*/ 0 h 200"/>
                  <a:gd name="T2" fmla="*/ 200 w 200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0" y="0"/>
                    </a:moveTo>
                    <a:cubicBezTo>
                      <a:pt x="0" y="110"/>
                      <a:pt x="90" y="200"/>
                      <a:pt x="20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2" name="Freeform 137"/>
              <p:cNvSpPr>
                <a:spLocks/>
              </p:cNvSpPr>
              <p:nvPr userDrawn="1"/>
            </p:nvSpPr>
            <p:spPr bwMode="auto">
              <a:xfrm>
                <a:off x="1052512" y="4262438"/>
                <a:ext cx="687388" cy="687388"/>
              </a:xfrm>
              <a:custGeom>
                <a:avLst/>
                <a:gdLst>
                  <a:gd name="T0" fmla="*/ 0 w 187"/>
                  <a:gd name="T1" fmla="*/ 0 h 187"/>
                  <a:gd name="T2" fmla="*/ 187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0"/>
                    </a:moveTo>
                    <a:cubicBezTo>
                      <a:pt x="0" y="103"/>
                      <a:pt x="84" y="187"/>
                      <a:pt x="187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3" name="Freeform 138"/>
              <p:cNvSpPr>
                <a:spLocks/>
              </p:cNvSpPr>
              <p:nvPr userDrawn="1"/>
            </p:nvSpPr>
            <p:spPr bwMode="auto">
              <a:xfrm>
                <a:off x="1100137" y="4262438"/>
                <a:ext cx="639763" cy="639763"/>
              </a:xfrm>
              <a:custGeom>
                <a:avLst/>
                <a:gdLst>
                  <a:gd name="T0" fmla="*/ 0 w 174"/>
                  <a:gd name="T1" fmla="*/ 0 h 174"/>
                  <a:gd name="T2" fmla="*/ 174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0"/>
                    </a:moveTo>
                    <a:cubicBezTo>
                      <a:pt x="0" y="96"/>
                      <a:pt x="78" y="174"/>
                      <a:pt x="174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4" name="Freeform 139"/>
              <p:cNvSpPr>
                <a:spLocks/>
              </p:cNvSpPr>
              <p:nvPr userDrawn="1"/>
            </p:nvSpPr>
            <p:spPr bwMode="auto">
              <a:xfrm>
                <a:off x="1147762" y="4262438"/>
                <a:ext cx="592138" cy="592138"/>
              </a:xfrm>
              <a:custGeom>
                <a:avLst/>
                <a:gdLst>
                  <a:gd name="T0" fmla="*/ 0 w 161"/>
                  <a:gd name="T1" fmla="*/ 0 h 161"/>
                  <a:gd name="T2" fmla="*/ 161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0"/>
                    </a:moveTo>
                    <a:cubicBezTo>
                      <a:pt x="0" y="89"/>
                      <a:pt x="72" y="161"/>
                      <a:pt x="161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5" name="Freeform 140"/>
              <p:cNvSpPr>
                <a:spLocks/>
              </p:cNvSpPr>
              <p:nvPr userDrawn="1"/>
            </p:nvSpPr>
            <p:spPr bwMode="auto">
              <a:xfrm>
                <a:off x="1195387" y="4262438"/>
                <a:ext cx="544513" cy="544513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2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6" name="Freeform 141"/>
              <p:cNvSpPr>
                <a:spLocks/>
              </p:cNvSpPr>
              <p:nvPr userDrawn="1"/>
            </p:nvSpPr>
            <p:spPr bwMode="auto">
              <a:xfrm>
                <a:off x="1243012" y="4262438"/>
                <a:ext cx="496888" cy="496888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5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7" name="Freeform 142"/>
              <p:cNvSpPr>
                <a:spLocks/>
              </p:cNvSpPr>
              <p:nvPr userDrawn="1"/>
            </p:nvSpPr>
            <p:spPr bwMode="auto">
              <a:xfrm>
                <a:off x="1290637" y="4262438"/>
                <a:ext cx="449263" cy="449263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8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8" name="Freeform 143"/>
              <p:cNvSpPr>
                <a:spLocks/>
              </p:cNvSpPr>
              <p:nvPr userDrawn="1"/>
            </p:nvSpPr>
            <p:spPr bwMode="auto">
              <a:xfrm>
                <a:off x="1335087" y="4262438"/>
                <a:ext cx="404813" cy="401638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1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09" name="Freeform 144"/>
              <p:cNvSpPr>
                <a:spLocks/>
              </p:cNvSpPr>
              <p:nvPr userDrawn="1"/>
            </p:nvSpPr>
            <p:spPr bwMode="auto">
              <a:xfrm>
                <a:off x="1382712" y="4262438"/>
                <a:ext cx="357188" cy="357188"/>
              </a:xfrm>
              <a:custGeom>
                <a:avLst/>
                <a:gdLst>
                  <a:gd name="T0" fmla="*/ 0 w 97"/>
                  <a:gd name="T1" fmla="*/ 0 h 97"/>
                  <a:gd name="T2" fmla="*/ 97 w 97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0"/>
                    </a:moveTo>
                    <a:cubicBezTo>
                      <a:pt x="0" y="53"/>
                      <a:pt x="43" y="97"/>
                      <a:pt x="97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0" name="Freeform 145"/>
              <p:cNvSpPr>
                <a:spLocks/>
              </p:cNvSpPr>
              <p:nvPr userDrawn="1"/>
            </p:nvSpPr>
            <p:spPr bwMode="auto">
              <a:xfrm>
                <a:off x="1430337" y="4262438"/>
                <a:ext cx="309563" cy="309563"/>
              </a:xfrm>
              <a:custGeom>
                <a:avLst/>
                <a:gdLst>
                  <a:gd name="T0" fmla="*/ 0 w 84"/>
                  <a:gd name="T1" fmla="*/ 0 h 84"/>
                  <a:gd name="T2" fmla="*/ 84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0"/>
                    </a:moveTo>
                    <a:cubicBezTo>
                      <a:pt x="0" y="46"/>
                      <a:pt x="38" y="84"/>
                      <a:pt x="84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1" name="Freeform 146"/>
              <p:cNvSpPr>
                <a:spLocks/>
              </p:cNvSpPr>
              <p:nvPr userDrawn="1"/>
            </p:nvSpPr>
            <p:spPr bwMode="auto">
              <a:xfrm>
                <a:off x="1477962" y="4262438"/>
                <a:ext cx="261938" cy="261938"/>
              </a:xfrm>
              <a:custGeom>
                <a:avLst/>
                <a:gdLst>
                  <a:gd name="T0" fmla="*/ 0 w 71"/>
                  <a:gd name="T1" fmla="*/ 0 h 71"/>
                  <a:gd name="T2" fmla="*/ 71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0" y="39"/>
                      <a:pt x="32" y="71"/>
                      <a:pt x="71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2" name="Freeform 147"/>
              <p:cNvSpPr>
                <a:spLocks/>
              </p:cNvSpPr>
              <p:nvPr userDrawn="1"/>
            </p:nvSpPr>
            <p:spPr bwMode="auto">
              <a:xfrm>
                <a:off x="1525587" y="4262438"/>
                <a:ext cx="214313" cy="214313"/>
              </a:xfrm>
              <a:custGeom>
                <a:avLst/>
                <a:gdLst>
                  <a:gd name="T0" fmla="*/ 0 w 58"/>
                  <a:gd name="T1" fmla="*/ 0 h 58"/>
                  <a:gd name="T2" fmla="*/ 58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0"/>
                    </a:moveTo>
                    <a:cubicBezTo>
                      <a:pt x="0" y="32"/>
                      <a:pt x="26" y="58"/>
                      <a:pt x="58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3" name="Freeform 148"/>
              <p:cNvSpPr>
                <a:spLocks/>
              </p:cNvSpPr>
              <p:nvPr userDrawn="1"/>
            </p:nvSpPr>
            <p:spPr bwMode="auto">
              <a:xfrm>
                <a:off x="1573212" y="4262438"/>
                <a:ext cx="166688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5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4" name="Freeform 149"/>
              <p:cNvSpPr>
                <a:spLocks/>
              </p:cNvSpPr>
              <p:nvPr userDrawn="1"/>
            </p:nvSpPr>
            <p:spPr bwMode="auto">
              <a:xfrm>
                <a:off x="1622425" y="42624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8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5" name="Freeform 150"/>
              <p:cNvSpPr>
                <a:spLocks/>
              </p:cNvSpPr>
              <p:nvPr userDrawn="1"/>
            </p:nvSpPr>
            <p:spPr bwMode="auto">
              <a:xfrm>
                <a:off x="1665287" y="4262438"/>
                <a:ext cx="74613" cy="69850"/>
              </a:xfrm>
              <a:custGeom>
                <a:avLst/>
                <a:gdLst>
                  <a:gd name="T0" fmla="*/ 0 w 20"/>
                  <a:gd name="T1" fmla="*/ 0 h 19"/>
                  <a:gd name="T2" fmla="*/ 20 w 20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0" y="0"/>
                    </a:moveTo>
                    <a:cubicBezTo>
                      <a:pt x="0" y="11"/>
                      <a:pt x="9" y="19"/>
                      <a:pt x="2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6" name="Freeform 151"/>
              <p:cNvSpPr>
                <a:spLocks/>
              </p:cNvSpPr>
              <p:nvPr userDrawn="1"/>
            </p:nvSpPr>
            <p:spPr bwMode="auto">
              <a:xfrm>
                <a:off x="1712912" y="4262438"/>
                <a:ext cx="26988" cy="25400"/>
              </a:xfrm>
              <a:custGeom>
                <a:avLst/>
                <a:gdLst>
                  <a:gd name="T0" fmla="*/ 0 w 7"/>
                  <a:gd name="T1" fmla="*/ 0 h 7"/>
                  <a:gd name="T2" fmla="*/ 7 w 7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0" y="0"/>
                    </a:moveTo>
                    <a:cubicBezTo>
                      <a:pt x="0" y="4"/>
                      <a:pt x="3" y="7"/>
                      <a:pt x="7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7" name="Freeform 152"/>
              <p:cNvSpPr>
                <a:spLocks/>
              </p:cNvSpPr>
              <p:nvPr userDrawn="1"/>
            </p:nvSpPr>
            <p:spPr bwMode="auto">
              <a:xfrm>
                <a:off x="1739900" y="4262438"/>
                <a:ext cx="966788" cy="971550"/>
              </a:xfrm>
              <a:custGeom>
                <a:avLst/>
                <a:gdLst>
                  <a:gd name="T0" fmla="*/ 263 w 263"/>
                  <a:gd name="T1" fmla="*/ 0 h 264"/>
                  <a:gd name="T2" fmla="*/ 0 w 263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263" y="0"/>
                    </a:moveTo>
                    <a:cubicBezTo>
                      <a:pt x="118" y="0"/>
                      <a:pt x="0" y="118"/>
                      <a:pt x="0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8" name="Freeform 153"/>
              <p:cNvSpPr>
                <a:spLocks/>
              </p:cNvSpPr>
              <p:nvPr userDrawn="1"/>
            </p:nvSpPr>
            <p:spPr bwMode="auto">
              <a:xfrm>
                <a:off x="1787525" y="4310063"/>
                <a:ext cx="919163" cy="923925"/>
              </a:xfrm>
              <a:custGeom>
                <a:avLst/>
                <a:gdLst>
                  <a:gd name="T0" fmla="*/ 250 w 250"/>
                  <a:gd name="T1" fmla="*/ 0 h 251"/>
                  <a:gd name="T2" fmla="*/ 0 w 250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0" h="251">
                    <a:moveTo>
                      <a:pt x="250" y="0"/>
                    </a:moveTo>
                    <a:cubicBezTo>
                      <a:pt x="112" y="0"/>
                      <a:pt x="0" y="112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19" name="Freeform 154"/>
              <p:cNvSpPr>
                <a:spLocks/>
              </p:cNvSpPr>
              <p:nvPr userDrawn="1"/>
            </p:nvSpPr>
            <p:spPr bwMode="auto">
              <a:xfrm>
                <a:off x="1831975" y="4357688"/>
                <a:ext cx="874713" cy="876300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7" y="0"/>
                      <a:pt x="0" y="106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0" name="Freeform 155"/>
              <p:cNvSpPr>
                <a:spLocks/>
              </p:cNvSpPr>
              <p:nvPr userDrawn="1"/>
            </p:nvSpPr>
            <p:spPr bwMode="auto">
              <a:xfrm>
                <a:off x="1879600" y="4405313"/>
                <a:ext cx="827088" cy="828675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0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1" name="Freeform 156"/>
              <p:cNvSpPr>
                <a:spLocks/>
              </p:cNvSpPr>
              <p:nvPr userDrawn="1"/>
            </p:nvSpPr>
            <p:spPr bwMode="auto">
              <a:xfrm>
                <a:off x="1927225" y="4454526"/>
                <a:ext cx="779463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2" name="Freeform 157"/>
              <p:cNvSpPr>
                <a:spLocks/>
              </p:cNvSpPr>
              <p:nvPr userDrawn="1"/>
            </p:nvSpPr>
            <p:spPr bwMode="auto">
              <a:xfrm>
                <a:off x="1974850" y="4497388"/>
                <a:ext cx="731838" cy="736600"/>
              </a:xfrm>
              <a:custGeom>
                <a:avLst/>
                <a:gdLst>
                  <a:gd name="T0" fmla="*/ 199 w 199"/>
                  <a:gd name="T1" fmla="*/ 0 h 200"/>
                  <a:gd name="T2" fmla="*/ 0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0"/>
                    </a:moveTo>
                    <a:cubicBezTo>
                      <a:pt x="89" y="0"/>
                      <a:pt x="0" y="90"/>
                      <a:pt x="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3" name="Freeform 158"/>
              <p:cNvSpPr>
                <a:spLocks/>
              </p:cNvSpPr>
              <p:nvPr userDrawn="1"/>
            </p:nvSpPr>
            <p:spPr bwMode="auto">
              <a:xfrm>
                <a:off x="2022475" y="4546601"/>
                <a:ext cx="684213" cy="687388"/>
              </a:xfrm>
              <a:custGeom>
                <a:avLst/>
                <a:gdLst>
                  <a:gd name="T0" fmla="*/ 186 w 186"/>
                  <a:gd name="T1" fmla="*/ 0 h 187"/>
                  <a:gd name="T2" fmla="*/ 0 w 186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186" y="0"/>
                    </a:moveTo>
                    <a:cubicBezTo>
                      <a:pt x="83" y="0"/>
                      <a:pt x="0" y="84"/>
                      <a:pt x="0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4" name="Freeform 159"/>
              <p:cNvSpPr>
                <a:spLocks/>
              </p:cNvSpPr>
              <p:nvPr userDrawn="1"/>
            </p:nvSpPr>
            <p:spPr bwMode="auto">
              <a:xfrm>
                <a:off x="2070100" y="4594226"/>
                <a:ext cx="636588" cy="639763"/>
              </a:xfrm>
              <a:custGeom>
                <a:avLst/>
                <a:gdLst>
                  <a:gd name="T0" fmla="*/ 173 w 173"/>
                  <a:gd name="T1" fmla="*/ 0 h 174"/>
                  <a:gd name="T2" fmla="*/ 0 w 173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173" y="0"/>
                    </a:moveTo>
                    <a:cubicBezTo>
                      <a:pt x="77" y="0"/>
                      <a:pt x="0" y="78"/>
                      <a:pt x="0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5" name="Freeform 160"/>
              <p:cNvSpPr>
                <a:spLocks/>
              </p:cNvSpPr>
              <p:nvPr userDrawn="1"/>
            </p:nvSpPr>
            <p:spPr bwMode="auto">
              <a:xfrm>
                <a:off x="2117725" y="4641851"/>
                <a:ext cx="588963" cy="592138"/>
              </a:xfrm>
              <a:custGeom>
                <a:avLst/>
                <a:gdLst>
                  <a:gd name="T0" fmla="*/ 160 w 160"/>
                  <a:gd name="T1" fmla="*/ 0 h 161"/>
                  <a:gd name="T2" fmla="*/ 0 w 160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0" h="161">
                    <a:moveTo>
                      <a:pt x="160" y="0"/>
                    </a:moveTo>
                    <a:cubicBezTo>
                      <a:pt x="72" y="0"/>
                      <a:pt x="0" y="72"/>
                      <a:pt x="0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6" name="Freeform 161"/>
              <p:cNvSpPr>
                <a:spLocks/>
              </p:cNvSpPr>
              <p:nvPr userDrawn="1"/>
            </p:nvSpPr>
            <p:spPr bwMode="auto">
              <a:xfrm>
                <a:off x="2165350" y="4689476"/>
                <a:ext cx="541338" cy="544513"/>
              </a:xfrm>
              <a:custGeom>
                <a:avLst/>
                <a:gdLst>
                  <a:gd name="T0" fmla="*/ 147 w 147"/>
                  <a:gd name="T1" fmla="*/ 0 h 148"/>
                  <a:gd name="T2" fmla="*/ 0 w 147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7" h="148">
                    <a:moveTo>
                      <a:pt x="147" y="0"/>
                    </a:moveTo>
                    <a:cubicBezTo>
                      <a:pt x="66" y="0"/>
                      <a:pt x="0" y="66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7" name="Freeform 162"/>
              <p:cNvSpPr>
                <a:spLocks/>
              </p:cNvSpPr>
              <p:nvPr userDrawn="1"/>
            </p:nvSpPr>
            <p:spPr bwMode="auto">
              <a:xfrm>
                <a:off x="2209800" y="4737101"/>
                <a:ext cx="496888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1" y="0"/>
                      <a:pt x="0" y="60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8" name="Freeform 163"/>
              <p:cNvSpPr>
                <a:spLocks/>
              </p:cNvSpPr>
              <p:nvPr userDrawn="1"/>
            </p:nvSpPr>
            <p:spPr bwMode="auto">
              <a:xfrm>
                <a:off x="2257425" y="4784726"/>
                <a:ext cx="449263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5" y="0"/>
                      <a:pt x="0" y="54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29" name="Freeform 164"/>
              <p:cNvSpPr>
                <a:spLocks/>
              </p:cNvSpPr>
              <p:nvPr userDrawn="1"/>
            </p:nvSpPr>
            <p:spPr bwMode="auto">
              <a:xfrm>
                <a:off x="2305050" y="4829176"/>
                <a:ext cx="401638" cy="404813"/>
              </a:xfrm>
              <a:custGeom>
                <a:avLst/>
                <a:gdLst>
                  <a:gd name="T0" fmla="*/ 109 w 109"/>
                  <a:gd name="T1" fmla="*/ 0 h 110"/>
                  <a:gd name="T2" fmla="*/ 0 w 109"/>
                  <a:gd name="T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0"/>
                    </a:moveTo>
                    <a:cubicBezTo>
                      <a:pt x="49" y="0"/>
                      <a:pt x="0" y="49"/>
                      <a:pt x="0" y="11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0" name="Freeform 165"/>
              <p:cNvSpPr>
                <a:spLocks/>
              </p:cNvSpPr>
              <p:nvPr userDrawn="1"/>
            </p:nvSpPr>
            <p:spPr bwMode="auto">
              <a:xfrm>
                <a:off x="2352675" y="4876801"/>
                <a:ext cx="354013" cy="357188"/>
              </a:xfrm>
              <a:custGeom>
                <a:avLst/>
                <a:gdLst>
                  <a:gd name="T0" fmla="*/ 96 w 96"/>
                  <a:gd name="T1" fmla="*/ 0 h 97"/>
                  <a:gd name="T2" fmla="*/ 0 w 96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96" y="0"/>
                    </a:moveTo>
                    <a:cubicBezTo>
                      <a:pt x="43" y="0"/>
                      <a:pt x="0" y="44"/>
                      <a:pt x="0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1" name="Freeform 166"/>
              <p:cNvSpPr>
                <a:spLocks/>
              </p:cNvSpPr>
              <p:nvPr userDrawn="1"/>
            </p:nvSpPr>
            <p:spPr bwMode="auto">
              <a:xfrm>
                <a:off x="2400300" y="4924426"/>
                <a:ext cx="306388" cy="309563"/>
              </a:xfrm>
              <a:custGeom>
                <a:avLst/>
                <a:gdLst>
                  <a:gd name="T0" fmla="*/ 83 w 83"/>
                  <a:gd name="T1" fmla="*/ 0 h 84"/>
                  <a:gd name="T2" fmla="*/ 0 w 83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83" y="0"/>
                    </a:moveTo>
                    <a:cubicBezTo>
                      <a:pt x="37" y="0"/>
                      <a:pt x="0" y="38"/>
                      <a:pt x="0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2" name="Freeform 167"/>
              <p:cNvSpPr>
                <a:spLocks/>
              </p:cNvSpPr>
              <p:nvPr userDrawn="1"/>
            </p:nvSpPr>
            <p:spPr bwMode="auto">
              <a:xfrm>
                <a:off x="2447925" y="4972051"/>
                <a:ext cx="258763" cy="261938"/>
              </a:xfrm>
              <a:custGeom>
                <a:avLst/>
                <a:gdLst>
                  <a:gd name="T0" fmla="*/ 70 w 70"/>
                  <a:gd name="T1" fmla="*/ 0 h 71"/>
                  <a:gd name="T2" fmla="*/ 0 w 70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70" y="0"/>
                    </a:moveTo>
                    <a:cubicBezTo>
                      <a:pt x="31" y="0"/>
                      <a:pt x="0" y="32"/>
                      <a:pt x="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3" name="Freeform 168"/>
              <p:cNvSpPr>
                <a:spLocks/>
              </p:cNvSpPr>
              <p:nvPr userDrawn="1"/>
            </p:nvSpPr>
            <p:spPr bwMode="auto">
              <a:xfrm>
                <a:off x="2497137" y="5021263"/>
                <a:ext cx="209550" cy="212725"/>
              </a:xfrm>
              <a:custGeom>
                <a:avLst/>
                <a:gdLst>
                  <a:gd name="T0" fmla="*/ 57 w 57"/>
                  <a:gd name="T1" fmla="*/ 0 h 58"/>
                  <a:gd name="T2" fmla="*/ 0 w 57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7" h="58">
                    <a:moveTo>
                      <a:pt x="57" y="0"/>
                    </a:moveTo>
                    <a:cubicBezTo>
                      <a:pt x="25" y="0"/>
                      <a:pt x="0" y="26"/>
                      <a:pt x="0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4" name="Freeform 169"/>
              <p:cNvSpPr>
                <a:spLocks/>
              </p:cNvSpPr>
              <p:nvPr userDrawn="1"/>
            </p:nvSpPr>
            <p:spPr bwMode="auto">
              <a:xfrm>
                <a:off x="2540000" y="5068888"/>
                <a:ext cx="166688" cy="165100"/>
              </a:xfrm>
              <a:custGeom>
                <a:avLst/>
                <a:gdLst>
                  <a:gd name="T0" fmla="*/ 45 w 45"/>
                  <a:gd name="T1" fmla="*/ 0 h 45"/>
                  <a:gd name="T2" fmla="*/ 0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0"/>
                    </a:moveTo>
                    <a:cubicBezTo>
                      <a:pt x="21" y="0"/>
                      <a:pt x="0" y="20"/>
                      <a:pt x="0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5" name="Freeform 170"/>
              <p:cNvSpPr>
                <a:spLocks/>
              </p:cNvSpPr>
              <p:nvPr userDrawn="1"/>
            </p:nvSpPr>
            <p:spPr bwMode="auto">
              <a:xfrm>
                <a:off x="2587625" y="5116513"/>
                <a:ext cx="119063" cy="117475"/>
              </a:xfrm>
              <a:custGeom>
                <a:avLst/>
                <a:gdLst>
                  <a:gd name="T0" fmla="*/ 32 w 32"/>
                  <a:gd name="T1" fmla="*/ 0 h 32"/>
                  <a:gd name="T2" fmla="*/ 0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0"/>
                    </a:moveTo>
                    <a:cubicBezTo>
                      <a:pt x="15" y="0"/>
                      <a:pt x="0" y="14"/>
                      <a:pt x="0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6" name="Freeform 171"/>
              <p:cNvSpPr>
                <a:spLocks/>
              </p:cNvSpPr>
              <p:nvPr userDrawn="1"/>
            </p:nvSpPr>
            <p:spPr bwMode="auto">
              <a:xfrm>
                <a:off x="2636837" y="5164138"/>
                <a:ext cx="69850" cy="69850"/>
              </a:xfrm>
              <a:custGeom>
                <a:avLst/>
                <a:gdLst>
                  <a:gd name="T0" fmla="*/ 19 w 19"/>
                  <a:gd name="T1" fmla="*/ 0 h 19"/>
                  <a:gd name="T2" fmla="*/ 0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0"/>
                    </a:moveTo>
                    <a:cubicBezTo>
                      <a:pt x="9" y="0"/>
                      <a:pt x="0" y="8"/>
                      <a:pt x="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7" name="Freeform 172"/>
              <p:cNvSpPr>
                <a:spLocks/>
              </p:cNvSpPr>
              <p:nvPr userDrawn="1"/>
            </p:nvSpPr>
            <p:spPr bwMode="auto">
              <a:xfrm>
                <a:off x="2684462" y="5208588"/>
                <a:ext cx="22225" cy="25400"/>
              </a:xfrm>
              <a:custGeom>
                <a:avLst/>
                <a:gdLst>
                  <a:gd name="T0" fmla="*/ 6 w 6"/>
                  <a:gd name="T1" fmla="*/ 0 h 7"/>
                  <a:gd name="T2" fmla="*/ 0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0"/>
                    </a:moveTo>
                    <a:cubicBezTo>
                      <a:pt x="3" y="0"/>
                      <a:pt x="0" y="3"/>
                      <a:pt x="0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8" name="Freeform 173"/>
              <p:cNvSpPr>
                <a:spLocks/>
              </p:cNvSpPr>
              <p:nvPr userDrawn="1"/>
            </p:nvSpPr>
            <p:spPr bwMode="auto">
              <a:xfrm>
                <a:off x="-201613" y="32908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39" name="Freeform 174"/>
              <p:cNvSpPr>
                <a:spLocks/>
              </p:cNvSpPr>
              <p:nvPr userDrawn="1"/>
            </p:nvSpPr>
            <p:spPr bwMode="auto">
              <a:xfrm>
                <a:off x="-201613" y="33385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0" name="Freeform 175"/>
              <p:cNvSpPr>
                <a:spLocks/>
              </p:cNvSpPr>
              <p:nvPr userDrawn="1"/>
            </p:nvSpPr>
            <p:spPr bwMode="auto">
              <a:xfrm>
                <a:off x="-201613" y="3387726"/>
                <a:ext cx="874713" cy="874713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7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1" name="Freeform 176"/>
              <p:cNvSpPr>
                <a:spLocks/>
              </p:cNvSpPr>
              <p:nvPr userDrawn="1"/>
            </p:nvSpPr>
            <p:spPr bwMode="auto">
              <a:xfrm>
                <a:off x="-201613" y="3435351"/>
                <a:ext cx="827088" cy="827088"/>
              </a:xfrm>
              <a:custGeom>
                <a:avLst/>
                <a:gdLst>
                  <a:gd name="T0" fmla="*/ 225 w 225"/>
                  <a:gd name="T1" fmla="*/ 225 h 225"/>
                  <a:gd name="T2" fmla="*/ 0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225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2" name="Freeform 177"/>
              <p:cNvSpPr>
                <a:spLocks/>
              </p:cNvSpPr>
              <p:nvPr userDrawn="1"/>
            </p:nvSpPr>
            <p:spPr bwMode="auto">
              <a:xfrm>
                <a:off x="-201613" y="3482976"/>
                <a:ext cx="782638" cy="779463"/>
              </a:xfrm>
              <a:custGeom>
                <a:avLst/>
                <a:gdLst>
                  <a:gd name="T0" fmla="*/ 213 w 213"/>
                  <a:gd name="T1" fmla="*/ 212 h 212"/>
                  <a:gd name="T2" fmla="*/ 0 w 213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213" y="212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3" name="Freeform 178"/>
              <p:cNvSpPr>
                <a:spLocks/>
              </p:cNvSpPr>
              <p:nvPr userDrawn="1"/>
            </p:nvSpPr>
            <p:spPr bwMode="auto">
              <a:xfrm>
                <a:off x="-201613" y="3530601"/>
                <a:ext cx="735013" cy="731838"/>
              </a:xfrm>
              <a:custGeom>
                <a:avLst/>
                <a:gdLst>
                  <a:gd name="T0" fmla="*/ 200 w 200"/>
                  <a:gd name="T1" fmla="*/ 199 h 199"/>
                  <a:gd name="T2" fmla="*/ 0 w 200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200" y="199"/>
                    </a:moveTo>
                    <a:cubicBezTo>
                      <a:pt x="200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4" name="Freeform 179"/>
              <p:cNvSpPr>
                <a:spLocks/>
              </p:cNvSpPr>
              <p:nvPr userDrawn="1"/>
            </p:nvSpPr>
            <p:spPr bwMode="auto">
              <a:xfrm>
                <a:off x="-201613" y="3578226"/>
                <a:ext cx="687388" cy="684213"/>
              </a:xfrm>
              <a:custGeom>
                <a:avLst/>
                <a:gdLst>
                  <a:gd name="T0" fmla="*/ 187 w 187"/>
                  <a:gd name="T1" fmla="*/ 186 h 186"/>
                  <a:gd name="T2" fmla="*/ 0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186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5" name="Freeform 180"/>
              <p:cNvSpPr>
                <a:spLocks/>
              </p:cNvSpPr>
              <p:nvPr userDrawn="1"/>
            </p:nvSpPr>
            <p:spPr bwMode="auto">
              <a:xfrm>
                <a:off x="-201613" y="3622676"/>
                <a:ext cx="639763" cy="639763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6" name="Freeform 181"/>
              <p:cNvSpPr>
                <a:spLocks/>
              </p:cNvSpPr>
              <p:nvPr userDrawn="1"/>
            </p:nvSpPr>
            <p:spPr bwMode="auto">
              <a:xfrm>
                <a:off x="-201613" y="3670301"/>
                <a:ext cx="592138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7" name="Freeform 182"/>
              <p:cNvSpPr>
                <a:spLocks/>
              </p:cNvSpPr>
              <p:nvPr userDrawn="1"/>
            </p:nvSpPr>
            <p:spPr bwMode="auto">
              <a:xfrm>
                <a:off x="-201613" y="3717926"/>
                <a:ext cx="544513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8" name="Freeform 183"/>
              <p:cNvSpPr>
                <a:spLocks/>
              </p:cNvSpPr>
              <p:nvPr userDrawn="1"/>
            </p:nvSpPr>
            <p:spPr bwMode="auto">
              <a:xfrm>
                <a:off x="-201613" y="3765551"/>
                <a:ext cx="496888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49" name="Freeform 184"/>
              <p:cNvSpPr>
                <a:spLocks/>
              </p:cNvSpPr>
              <p:nvPr userDrawn="1"/>
            </p:nvSpPr>
            <p:spPr bwMode="auto">
              <a:xfrm>
                <a:off x="-201613" y="3813176"/>
                <a:ext cx="449263" cy="449263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0" name="Freeform 185"/>
              <p:cNvSpPr>
                <a:spLocks/>
              </p:cNvSpPr>
              <p:nvPr userDrawn="1"/>
            </p:nvSpPr>
            <p:spPr bwMode="auto">
              <a:xfrm>
                <a:off x="-201613" y="3862388"/>
                <a:ext cx="404813" cy="400050"/>
              </a:xfrm>
              <a:custGeom>
                <a:avLst/>
                <a:gdLst>
                  <a:gd name="T0" fmla="*/ 110 w 110"/>
                  <a:gd name="T1" fmla="*/ 109 h 109"/>
                  <a:gd name="T2" fmla="*/ 0 w 110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110" y="109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1" name="Freeform 186"/>
              <p:cNvSpPr>
                <a:spLocks/>
              </p:cNvSpPr>
              <p:nvPr userDrawn="1"/>
            </p:nvSpPr>
            <p:spPr bwMode="auto">
              <a:xfrm>
                <a:off x="-201613" y="3910013"/>
                <a:ext cx="357188" cy="352425"/>
              </a:xfrm>
              <a:custGeom>
                <a:avLst/>
                <a:gdLst>
                  <a:gd name="T0" fmla="*/ 97 w 97"/>
                  <a:gd name="T1" fmla="*/ 96 h 96"/>
                  <a:gd name="T2" fmla="*/ 0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97" y="96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2" name="Freeform 187"/>
              <p:cNvSpPr>
                <a:spLocks/>
              </p:cNvSpPr>
              <p:nvPr userDrawn="1"/>
            </p:nvSpPr>
            <p:spPr bwMode="auto">
              <a:xfrm>
                <a:off x="-201613" y="3952876"/>
                <a:ext cx="309563" cy="309563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8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3" name="Freeform 188"/>
              <p:cNvSpPr>
                <a:spLocks/>
              </p:cNvSpPr>
              <p:nvPr userDrawn="1"/>
            </p:nvSpPr>
            <p:spPr bwMode="auto">
              <a:xfrm>
                <a:off x="-201613" y="4002088"/>
                <a:ext cx="261938" cy="260350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2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4" name="Freeform 189"/>
              <p:cNvSpPr>
                <a:spLocks/>
              </p:cNvSpPr>
              <p:nvPr userDrawn="1"/>
            </p:nvSpPr>
            <p:spPr bwMode="auto">
              <a:xfrm>
                <a:off x="-201613" y="4049713"/>
                <a:ext cx="214313" cy="212725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5" name="Freeform 190"/>
              <p:cNvSpPr>
                <a:spLocks/>
              </p:cNvSpPr>
              <p:nvPr userDrawn="1"/>
            </p:nvSpPr>
            <p:spPr bwMode="auto">
              <a:xfrm>
                <a:off x="-201613" y="4097338"/>
                <a:ext cx="165100" cy="165100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6" name="Freeform 191"/>
              <p:cNvSpPr>
                <a:spLocks/>
              </p:cNvSpPr>
              <p:nvPr userDrawn="1"/>
            </p:nvSpPr>
            <p:spPr bwMode="auto">
              <a:xfrm>
                <a:off x="-201613" y="4144963"/>
                <a:ext cx="117475" cy="117475"/>
              </a:xfrm>
              <a:custGeom>
                <a:avLst/>
                <a:gdLst>
                  <a:gd name="T0" fmla="*/ 32 w 32"/>
                  <a:gd name="T1" fmla="*/ 32 h 32"/>
                  <a:gd name="T2" fmla="*/ 0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32"/>
                    </a:moveTo>
                    <a:cubicBezTo>
                      <a:pt x="32" y="14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7" name="Freeform 192"/>
              <p:cNvSpPr>
                <a:spLocks/>
              </p:cNvSpPr>
              <p:nvPr userDrawn="1"/>
            </p:nvSpPr>
            <p:spPr bwMode="auto">
              <a:xfrm>
                <a:off x="-201613" y="4192588"/>
                <a:ext cx="74613" cy="69850"/>
              </a:xfrm>
              <a:custGeom>
                <a:avLst/>
                <a:gdLst>
                  <a:gd name="T0" fmla="*/ 20 w 20"/>
                  <a:gd name="T1" fmla="*/ 19 h 19"/>
                  <a:gd name="T2" fmla="*/ 0 w 20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20" y="19"/>
                    </a:moveTo>
                    <a:cubicBezTo>
                      <a:pt x="20" y="8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8" name="Freeform 193"/>
              <p:cNvSpPr>
                <a:spLocks/>
              </p:cNvSpPr>
              <p:nvPr userDrawn="1"/>
            </p:nvSpPr>
            <p:spPr bwMode="auto">
              <a:xfrm>
                <a:off x="-201613" y="4240213"/>
                <a:ext cx="26988" cy="22225"/>
              </a:xfrm>
              <a:custGeom>
                <a:avLst/>
                <a:gdLst>
                  <a:gd name="T0" fmla="*/ 7 w 7"/>
                  <a:gd name="T1" fmla="*/ 6 h 6"/>
                  <a:gd name="T2" fmla="*/ 0 w 7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59" name="Freeform 194"/>
              <p:cNvSpPr>
                <a:spLocks/>
              </p:cNvSpPr>
              <p:nvPr userDrawn="1"/>
            </p:nvSpPr>
            <p:spPr bwMode="auto">
              <a:xfrm>
                <a:off x="-201613" y="4262438"/>
                <a:ext cx="969963" cy="971550"/>
              </a:xfrm>
              <a:custGeom>
                <a:avLst/>
                <a:gdLst>
                  <a:gd name="T0" fmla="*/ 264 w 264"/>
                  <a:gd name="T1" fmla="*/ 0 h 264"/>
                  <a:gd name="T2" fmla="*/ 0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0"/>
                    </a:moveTo>
                    <a:cubicBezTo>
                      <a:pt x="118" y="0"/>
                      <a:pt x="0" y="118"/>
                      <a:pt x="0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0" name="Freeform 195"/>
              <p:cNvSpPr>
                <a:spLocks/>
              </p:cNvSpPr>
              <p:nvPr userDrawn="1"/>
            </p:nvSpPr>
            <p:spPr bwMode="auto">
              <a:xfrm>
                <a:off x="-153988" y="4310063"/>
                <a:ext cx="922338" cy="923925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2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1" name="Freeform 196"/>
              <p:cNvSpPr>
                <a:spLocks/>
              </p:cNvSpPr>
              <p:nvPr userDrawn="1"/>
            </p:nvSpPr>
            <p:spPr bwMode="auto">
              <a:xfrm>
                <a:off x="-104776" y="4357688"/>
                <a:ext cx="873125" cy="876300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6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2" name="Freeform 197"/>
              <p:cNvSpPr>
                <a:spLocks/>
              </p:cNvSpPr>
              <p:nvPr userDrawn="1"/>
            </p:nvSpPr>
            <p:spPr bwMode="auto">
              <a:xfrm>
                <a:off x="-57151" y="4405313"/>
                <a:ext cx="825500" cy="828675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0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3" name="Freeform 198"/>
              <p:cNvSpPr>
                <a:spLocks/>
              </p:cNvSpPr>
              <p:nvPr userDrawn="1"/>
            </p:nvSpPr>
            <p:spPr bwMode="auto">
              <a:xfrm>
                <a:off x="-9526" y="4454526"/>
                <a:ext cx="777875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4" name="Freeform 199"/>
              <p:cNvSpPr>
                <a:spLocks/>
              </p:cNvSpPr>
              <p:nvPr userDrawn="1"/>
            </p:nvSpPr>
            <p:spPr bwMode="auto">
              <a:xfrm>
                <a:off x="38100" y="4497388"/>
                <a:ext cx="730250" cy="736600"/>
              </a:xfrm>
              <a:custGeom>
                <a:avLst/>
                <a:gdLst>
                  <a:gd name="T0" fmla="*/ 199 w 199"/>
                  <a:gd name="T1" fmla="*/ 0 h 200"/>
                  <a:gd name="T2" fmla="*/ 0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0"/>
                    </a:moveTo>
                    <a:cubicBezTo>
                      <a:pt x="89" y="0"/>
                      <a:pt x="0" y="90"/>
                      <a:pt x="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5" name="Freeform 200"/>
              <p:cNvSpPr>
                <a:spLocks/>
              </p:cNvSpPr>
              <p:nvPr userDrawn="1"/>
            </p:nvSpPr>
            <p:spPr bwMode="auto">
              <a:xfrm>
                <a:off x="82550" y="4546601"/>
                <a:ext cx="685800" cy="687388"/>
              </a:xfrm>
              <a:custGeom>
                <a:avLst/>
                <a:gdLst>
                  <a:gd name="T0" fmla="*/ 187 w 187"/>
                  <a:gd name="T1" fmla="*/ 0 h 187"/>
                  <a:gd name="T2" fmla="*/ 0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0"/>
                    </a:moveTo>
                    <a:cubicBezTo>
                      <a:pt x="84" y="0"/>
                      <a:pt x="0" y="84"/>
                      <a:pt x="0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6" name="Freeform 201"/>
              <p:cNvSpPr>
                <a:spLocks/>
              </p:cNvSpPr>
              <p:nvPr userDrawn="1"/>
            </p:nvSpPr>
            <p:spPr bwMode="auto">
              <a:xfrm>
                <a:off x="130175" y="4594226"/>
                <a:ext cx="638175" cy="639763"/>
              </a:xfrm>
              <a:custGeom>
                <a:avLst/>
                <a:gdLst>
                  <a:gd name="T0" fmla="*/ 174 w 174"/>
                  <a:gd name="T1" fmla="*/ 0 h 174"/>
                  <a:gd name="T2" fmla="*/ 0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7" name="Freeform 202"/>
              <p:cNvSpPr>
                <a:spLocks/>
              </p:cNvSpPr>
              <p:nvPr userDrawn="1"/>
            </p:nvSpPr>
            <p:spPr bwMode="auto">
              <a:xfrm>
                <a:off x="177800" y="4641851"/>
                <a:ext cx="590550" cy="592138"/>
              </a:xfrm>
              <a:custGeom>
                <a:avLst/>
                <a:gdLst>
                  <a:gd name="T0" fmla="*/ 161 w 161"/>
                  <a:gd name="T1" fmla="*/ 0 h 161"/>
                  <a:gd name="T2" fmla="*/ 0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0"/>
                    </a:moveTo>
                    <a:cubicBezTo>
                      <a:pt x="72" y="0"/>
                      <a:pt x="0" y="72"/>
                      <a:pt x="0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8" name="Freeform 203"/>
              <p:cNvSpPr>
                <a:spLocks/>
              </p:cNvSpPr>
              <p:nvPr userDrawn="1"/>
            </p:nvSpPr>
            <p:spPr bwMode="auto">
              <a:xfrm>
                <a:off x="225425" y="4689476"/>
                <a:ext cx="542925" cy="544513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6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169" name="Freeform 204"/>
              <p:cNvSpPr>
                <a:spLocks/>
              </p:cNvSpPr>
              <p:nvPr userDrawn="1"/>
            </p:nvSpPr>
            <p:spPr bwMode="auto">
              <a:xfrm>
                <a:off x="273050" y="4737101"/>
                <a:ext cx="495300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0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0" name="Freeform 206"/>
              <p:cNvSpPr>
                <a:spLocks/>
              </p:cNvSpPr>
              <p:nvPr userDrawn="1"/>
            </p:nvSpPr>
            <p:spPr bwMode="auto">
              <a:xfrm>
                <a:off x="320675" y="4784725"/>
                <a:ext cx="447675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4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1" name="Freeform 207"/>
              <p:cNvSpPr>
                <a:spLocks/>
              </p:cNvSpPr>
              <p:nvPr userDrawn="1"/>
            </p:nvSpPr>
            <p:spPr bwMode="auto">
              <a:xfrm>
                <a:off x="368300" y="4829175"/>
                <a:ext cx="400050" cy="404813"/>
              </a:xfrm>
              <a:custGeom>
                <a:avLst/>
                <a:gdLst>
                  <a:gd name="T0" fmla="*/ 109 w 109"/>
                  <a:gd name="T1" fmla="*/ 0 h 110"/>
                  <a:gd name="T2" fmla="*/ 0 w 109"/>
                  <a:gd name="T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0"/>
                    </a:moveTo>
                    <a:cubicBezTo>
                      <a:pt x="49" y="0"/>
                      <a:pt x="0" y="49"/>
                      <a:pt x="0" y="11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2" name="Freeform 208"/>
              <p:cNvSpPr>
                <a:spLocks/>
              </p:cNvSpPr>
              <p:nvPr userDrawn="1"/>
            </p:nvSpPr>
            <p:spPr bwMode="auto">
              <a:xfrm>
                <a:off x="412750" y="4876800"/>
                <a:ext cx="355600" cy="357188"/>
              </a:xfrm>
              <a:custGeom>
                <a:avLst/>
                <a:gdLst>
                  <a:gd name="T0" fmla="*/ 97 w 97"/>
                  <a:gd name="T1" fmla="*/ 0 h 97"/>
                  <a:gd name="T2" fmla="*/ 0 w 97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97" y="0"/>
                    </a:moveTo>
                    <a:cubicBezTo>
                      <a:pt x="44" y="0"/>
                      <a:pt x="0" y="44"/>
                      <a:pt x="0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3" name="Freeform 209"/>
              <p:cNvSpPr>
                <a:spLocks/>
              </p:cNvSpPr>
              <p:nvPr userDrawn="1"/>
            </p:nvSpPr>
            <p:spPr bwMode="auto">
              <a:xfrm>
                <a:off x="460375" y="4924425"/>
                <a:ext cx="307975" cy="309563"/>
              </a:xfrm>
              <a:custGeom>
                <a:avLst/>
                <a:gdLst>
                  <a:gd name="T0" fmla="*/ 84 w 84"/>
                  <a:gd name="T1" fmla="*/ 0 h 84"/>
                  <a:gd name="T2" fmla="*/ 0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cubicBezTo>
                      <a:pt x="38" y="0"/>
                      <a:pt x="0" y="38"/>
                      <a:pt x="0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4" name="Freeform 210"/>
              <p:cNvSpPr>
                <a:spLocks/>
              </p:cNvSpPr>
              <p:nvPr userDrawn="1"/>
            </p:nvSpPr>
            <p:spPr bwMode="auto">
              <a:xfrm>
                <a:off x="508000" y="4972050"/>
                <a:ext cx="260350" cy="261938"/>
              </a:xfrm>
              <a:custGeom>
                <a:avLst/>
                <a:gdLst>
                  <a:gd name="T0" fmla="*/ 71 w 71"/>
                  <a:gd name="T1" fmla="*/ 0 h 71"/>
                  <a:gd name="T2" fmla="*/ 0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32" y="0"/>
                      <a:pt x="0" y="32"/>
                      <a:pt x="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5" name="Freeform 211"/>
              <p:cNvSpPr>
                <a:spLocks/>
              </p:cNvSpPr>
              <p:nvPr userDrawn="1"/>
            </p:nvSpPr>
            <p:spPr bwMode="auto">
              <a:xfrm>
                <a:off x="555625" y="5021263"/>
                <a:ext cx="212725" cy="212725"/>
              </a:xfrm>
              <a:custGeom>
                <a:avLst/>
                <a:gdLst>
                  <a:gd name="T0" fmla="*/ 58 w 58"/>
                  <a:gd name="T1" fmla="*/ 0 h 58"/>
                  <a:gd name="T2" fmla="*/ 0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0"/>
                    </a:moveTo>
                    <a:cubicBezTo>
                      <a:pt x="26" y="0"/>
                      <a:pt x="0" y="26"/>
                      <a:pt x="0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6" name="Freeform 212"/>
              <p:cNvSpPr>
                <a:spLocks/>
              </p:cNvSpPr>
              <p:nvPr userDrawn="1"/>
            </p:nvSpPr>
            <p:spPr bwMode="auto">
              <a:xfrm>
                <a:off x="603250" y="5068888"/>
                <a:ext cx="165100" cy="165100"/>
              </a:xfrm>
              <a:custGeom>
                <a:avLst/>
                <a:gdLst>
                  <a:gd name="T0" fmla="*/ 45 w 45"/>
                  <a:gd name="T1" fmla="*/ 0 h 45"/>
                  <a:gd name="T2" fmla="*/ 0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7" name="Freeform 213"/>
              <p:cNvSpPr>
                <a:spLocks/>
              </p:cNvSpPr>
              <p:nvPr userDrawn="1"/>
            </p:nvSpPr>
            <p:spPr bwMode="auto">
              <a:xfrm>
                <a:off x="650875" y="5116513"/>
                <a:ext cx="117475" cy="117475"/>
              </a:xfrm>
              <a:custGeom>
                <a:avLst/>
                <a:gdLst>
                  <a:gd name="T0" fmla="*/ 32 w 32"/>
                  <a:gd name="T1" fmla="*/ 0 h 32"/>
                  <a:gd name="T2" fmla="*/ 0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0"/>
                    </a:moveTo>
                    <a:cubicBezTo>
                      <a:pt x="14" y="0"/>
                      <a:pt x="0" y="14"/>
                      <a:pt x="0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8" name="Freeform 214"/>
              <p:cNvSpPr>
                <a:spLocks/>
              </p:cNvSpPr>
              <p:nvPr userDrawn="1"/>
            </p:nvSpPr>
            <p:spPr bwMode="auto">
              <a:xfrm>
                <a:off x="700087" y="5164138"/>
                <a:ext cx="68263" cy="69850"/>
              </a:xfrm>
              <a:custGeom>
                <a:avLst/>
                <a:gdLst>
                  <a:gd name="T0" fmla="*/ 19 w 19"/>
                  <a:gd name="T1" fmla="*/ 0 h 19"/>
                  <a:gd name="T2" fmla="*/ 0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0"/>
                    </a:moveTo>
                    <a:cubicBezTo>
                      <a:pt x="8" y="0"/>
                      <a:pt x="0" y="8"/>
                      <a:pt x="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79" name="Freeform 215"/>
              <p:cNvSpPr>
                <a:spLocks/>
              </p:cNvSpPr>
              <p:nvPr userDrawn="1"/>
            </p:nvSpPr>
            <p:spPr bwMode="auto">
              <a:xfrm>
                <a:off x="747712" y="5208588"/>
                <a:ext cx="20638" cy="25400"/>
              </a:xfrm>
              <a:custGeom>
                <a:avLst/>
                <a:gdLst>
                  <a:gd name="T0" fmla="*/ 6 w 6"/>
                  <a:gd name="T1" fmla="*/ 0 h 7"/>
                  <a:gd name="T2" fmla="*/ 0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0"/>
                    </a:moveTo>
                    <a:cubicBezTo>
                      <a:pt x="2" y="0"/>
                      <a:pt x="0" y="3"/>
                      <a:pt x="0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0" name="Freeform 216"/>
              <p:cNvSpPr>
                <a:spLocks/>
              </p:cNvSpPr>
              <p:nvPr userDrawn="1"/>
            </p:nvSpPr>
            <p:spPr bwMode="auto">
              <a:xfrm>
                <a:off x="-201613" y="6205538"/>
                <a:ext cx="969963" cy="966788"/>
              </a:xfrm>
              <a:custGeom>
                <a:avLst/>
                <a:gdLst>
                  <a:gd name="T0" fmla="*/ 264 w 264"/>
                  <a:gd name="T1" fmla="*/ 0 h 263"/>
                  <a:gd name="T2" fmla="*/ 0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264" y="0"/>
                    </a:moveTo>
                    <a:cubicBezTo>
                      <a:pt x="118" y="0"/>
                      <a:pt x="0" y="118"/>
                      <a:pt x="0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1" name="Freeform 217"/>
              <p:cNvSpPr>
                <a:spLocks/>
              </p:cNvSpPr>
              <p:nvPr userDrawn="1"/>
            </p:nvSpPr>
            <p:spPr bwMode="auto">
              <a:xfrm>
                <a:off x="-153988" y="6249988"/>
                <a:ext cx="922338" cy="922338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3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2" name="Freeform 218"/>
              <p:cNvSpPr>
                <a:spLocks/>
              </p:cNvSpPr>
              <p:nvPr userDrawn="1"/>
            </p:nvSpPr>
            <p:spPr bwMode="auto">
              <a:xfrm>
                <a:off x="-104776" y="6297613"/>
                <a:ext cx="873125" cy="874713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7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3" name="Freeform 219"/>
              <p:cNvSpPr>
                <a:spLocks/>
              </p:cNvSpPr>
              <p:nvPr userDrawn="1"/>
            </p:nvSpPr>
            <p:spPr bwMode="auto">
              <a:xfrm>
                <a:off x="-57151" y="6345238"/>
                <a:ext cx="825500" cy="827088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1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4" name="Freeform 220"/>
              <p:cNvSpPr>
                <a:spLocks/>
              </p:cNvSpPr>
              <p:nvPr userDrawn="1"/>
            </p:nvSpPr>
            <p:spPr bwMode="auto">
              <a:xfrm>
                <a:off x="-9526" y="6392863"/>
                <a:ext cx="777875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5" name="Freeform 221"/>
              <p:cNvSpPr>
                <a:spLocks/>
              </p:cNvSpPr>
              <p:nvPr userDrawn="1"/>
            </p:nvSpPr>
            <p:spPr bwMode="auto">
              <a:xfrm>
                <a:off x="38100" y="6440488"/>
                <a:ext cx="730250" cy="731838"/>
              </a:xfrm>
              <a:custGeom>
                <a:avLst/>
                <a:gdLst>
                  <a:gd name="T0" fmla="*/ 199 w 199"/>
                  <a:gd name="T1" fmla="*/ 0 h 199"/>
                  <a:gd name="T2" fmla="*/ 0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0"/>
                    </a:moveTo>
                    <a:cubicBezTo>
                      <a:pt x="89" y="0"/>
                      <a:pt x="0" y="89"/>
                      <a:pt x="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6" name="Freeform 222"/>
              <p:cNvSpPr>
                <a:spLocks/>
              </p:cNvSpPr>
              <p:nvPr userDrawn="1"/>
            </p:nvSpPr>
            <p:spPr bwMode="auto">
              <a:xfrm>
                <a:off x="82550" y="6488113"/>
                <a:ext cx="685800" cy="684213"/>
              </a:xfrm>
              <a:custGeom>
                <a:avLst/>
                <a:gdLst>
                  <a:gd name="T0" fmla="*/ 187 w 187"/>
                  <a:gd name="T1" fmla="*/ 0 h 186"/>
                  <a:gd name="T2" fmla="*/ 0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0"/>
                    </a:moveTo>
                    <a:cubicBezTo>
                      <a:pt x="84" y="0"/>
                      <a:pt x="0" y="83"/>
                      <a:pt x="0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7" name="Freeform 223"/>
              <p:cNvSpPr>
                <a:spLocks/>
              </p:cNvSpPr>
              <p:nvPr userDrawn="1"/>
            </p:nvSpPr>
            <p:spPr bwMode="auto">
              <a:xfrm>
                <a:off x="130175" y="6535738"/>
                <a:ext cx="638175" cy="636588"/>
              </a:xfrm>
              <a:custGeom>
                <a:avLst/>
                <a:gdLst>
                  <a:gd name="T0" fmla="*/ 174 w 174"/>
                  <a:gd name="T1" fmla="*/ 0 h 173"/>
                  <a:gd name="T2" fmla="*/ 0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174" y="0"/>
                    </a:moveTo>
                    <a:cubicBezTo>
                      <a:pt x="78" y="0"/>
                      <a:pt x="0" y="77"/>
                      <a:pt x="0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8" name="Freeform 224"/>
              <p:cNvSpPr>
                <a:spLocks/>
              </p:cNvSpPr>
              <p:nvPr userDrawn="1"/>
            </p:nvSpPr>
            <p:spPr bwMode="auto">
              <a:xfrm>
                <a:off x="177800" y="6583363"/>
                <a:ext cx="590550" cy="588963"/>
              </a:xfrm>
              <a:custGeom>
                <a:avLst/>
                <a:gdLst>
                  <a:gd name="T0" fmla="*/ 161 w 161"/>
                  <a:gd name="T1" fmla="*/ 0 h 160"/>
                  <a:gd name="T2" fmla="*/ 0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161" y="0"/>
                    </a:moveTo>
                    <a:cubicBezTo>
                      <a:pt x="72" y="0"/>
                      <a:pt x="0" y="71"/>
                      <a:pt x="0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89" name="Freeform 225"/>
              <p:cNvSpPr>
                <a:spLocks/>
              </p:cNvSpPr>
              <p:nvPr userDrawn="1"/>
            </p:nvSpPr>
            <p:spPr bwMode="auto">
              <a:xfrm>
                <a:off x="225425" y="6627813"/>
                <a:ext cx="542925" cy="544513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7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0" name="Freeform 226"/>
              <p:cNvSpPr>
                <a:spLocks/>
              </p:cNvSpPr>
              <p:nvPr userDrawn="1"/>
            </p:nvSpPr>
            <p:spPr bwMode="auto">
              <a:xfrm>
                <a:off x="273050" y="6675438"/>
                <a:ext cx="495300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1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1" name="Freeform 227"/>
              <p:cNvSpPr>
                <a:spLocks/>
              </p:cNvSpPr>
              <p:nvPr userDrawn="1"/>
            </p:nvSpPr>
            <p:spPr bwMode="auto">
              <a:xfrm>
                <a:off x="320675" y="6723063"/>
                <a:ext cx="447675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5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2" name="Freeform 228"/>
              <p:cNvSpPr>
                <a:spLocks/>
              </p:cNvSpPr>
              <p:nvPr userDrawn="1"/>
            </p:nvSpPr>
            <p:spPr bwMode="auto">
              <a:xfrm>
                <a:off x="368300" y="6772275"/>
                <a:ext cx="400050" cy="400050"/>
              </a:xfrm>
              <a:custGeom>
                <a:avLst/>
                <a:gdLst>
                  <a:gd name="T0" fmla="*/ 109 w 109"/>
                  <a:gd name="T1" fmla="*/ 0 h 109"/>
                  <a:gd name="T2" fmla="*/ 0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0"/>
                    </a:moveTo>
                    <a:cubicBezTo>
                      <a:pt x="49" y="0"/>
                      <a:pt x="0" y="49"/>
                      <a:pt x="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3" name="Freeform 229"/>
              <p:cNvSpPr>
                <a:spLocks/>
              </p:cNvSpPr>
              <p:nvPr userDrawn="1"/>
            </p:nvSpPr>
            <p:spPr bwMode="auto">
              <a:xfrm>
                <a:off x="412750" y="6819900"/>
                <a:ext cx="355600" cy="352425"/>
              </a:xfrm>
              <a:custGeom>
                <a:avLst/>
                <a:gdLst>
                  <a:gd name="T0" fmla="*/ 97 w 97"/>
                  <a:gd name="T1" fmla="*/ 0 h 96"/>
                  <a:gd name="T2" fmla="*/ 0 w 97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97" y="0"/>
                    </a:moveTo>
                    <a:cubicBezTo>
                      <a:pt x="44" y="0"/>
                      <a:pt x="0" y="43"/>
                      <a:pt x="0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4" name="Freeform 230"/>
              <p:cNvSpPr>
                <a:spLocks/>
              </p:cNvSpPr>
              <p:nvPr userDrawn="1"/>
            </p:nvSpPr>
            <p:spPr bwMode="auto">
              <a:xfrm>
                <a:off x="460375" y="6867525"/>
                <a:ext cx="307975" cy="304800"/>
              </a:xfrm>
              <a:custGeom>
                <a:avLst/>
                <a:gdLst>
                  <a:gd name="T0" fmla="*/ 84 w 84"/>
                  <a:gd name="T1" fmla="*/ 0 h 83"/>
                  <a:gd name="T2" fmla="*/ 0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84" y="0"/>
                    </a:moveTo>
                    <a:cubicBezTo>
                      <a:pt x="38" y="0"/>
                      <a:pt x="0" y="37"/>
                      <a:pt x="0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95" name="Freeform 231"/>
              <p:cNvSpPr>
                <a:spLocks/>
              </p:cNvSpPr>
              <p:nvPr userDrawn="1"/>
            </p:nvSpPr>
            <p:spPr bwMode="auto">
              <a:xfrm>
                <a:off x="508000" y="6915150"/>
                <a:ext cx="260350" cy="257175"/>
              </a:xfrm>
              <a:custGeom>
                <a:avLst/>
                <a:gdLst>
                  <a:gd name="T0" fmla="*/ 71 w 71"/>
                  <a:gd name="T1" fmla="*/ 0 h 70"/>
                  <a:gd name="T2" fmla="*/ 0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71" y="0"/>
                    </a:moveTo>
                    <a:cubicBezTo>
                      <a:pt x="32" y="0"/>
                      <a:pt x="0" y="31"/>
                      <a:pt x="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1" name="Freeform 237"/>
              <p:cNvSpPr>
                <a:spLocks/>
              </p:cNvSpPr>
              <p:nvPr userDrawn="1"/>
            </p:nvSpPr>
            <p:spPr bwMode="auto">
              <a:xfrm>
                <a:off x="-201613" y="52339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2" name="Freeform 238"/>
              <p:cNvSpPr>
                <a:spLocks/>
              </p:cNvSpPr>
              <p:nvPr userDrawn="1"/>
            </p:nvSpPr>
            <p:spPr bwMode="auto">
              <a:xfrm>
                <a:off x="-201613" y="52816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3" name="Freeform 239"/>
              <p:cNvSpPr>
                <a:spLocks/>
              </p:cNvSpPr>
              <p:nvPr userDrawn="1"/>
            </p:nvSpPr>
            <p:spPr bwMode="auto">
              <a:xfrm>
                <a:off x="-201613" y="5329238"/>
                <a:ext cx="874713" cy="876300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6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4" name="Freeform 240"/>
              <p:cNvSpPr>
                <a:spLocks/>
              </p:cNvSpPr>
              <p:nvPr userDrawn="1"/>
            </p:nvSpPr>
            <p:spPr bwMode="auto">
              <a:xfrm>
                <a:off x="-201613" y="5373688"/>
                <a:ext cx="827088" cy="831850"/>
              </a:xfrm>
              <a:custGeom>
                <a:avLst/>
                <a:gdLst>
                  <a:gd name="T0" fmla="*/ 225 w 225"/>
                  <a:gd name="T1" fmla="*/ 226 h 226"/>
                  <a:gd name="T2" fmla="*/ 0 w 225"/>
                  <a:gd name="T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6">
                    <a:moveTo>
                      <a:pt x="225" y="226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5" name="Freeform 241"/>
              <p:cNvSpPr>
                <a:spLocks/>
              </p:cNvSpPr>
              <p:nvPr userDrawn="1"/>
            </p:nvSpPr>
            <p:spPr bwMode="auto">
              <a:xfrm>
                <a:off x="-201613" y="5421313"/>
                <a:ext cx="782638" cy="784225"/>
              </a:xfrm>
              <a:custGeom>
                <a:avLst/>
                <a:gdLst>
                  <a:gd name="T0" fmla="*/ 213 w 213"/>
                  <a:gd name="T1" fmla="*/ 213 h 213"/>
                  <a:gd name="T2" fmla="*/ 0 w 213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3">
                    <a:moveTo>
                      <a:pt x="213" y="213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6" name="Freeform 242"/>
              <p:cNvSpPr>
                <a:spLocks/>
              </p:cNvSpPr>
              <p:nvPr userDrawn="1"/>
            </p:nvSpPr>
            <p:spPr bwMode="auto">
              <a:xfrm>
                <a:off x="-201613" y="5468938"/>
                <a:ext cx="735013" cy="736600"/>
              </a:xfrm>
              <a:custGeom>
                <a:avLst/>
                <a:gdLst>
                  <a:gd name="T0" fmla="*/ 200 w 200"/>
                  <a:gd name="T1" fmla="*/ 200 h 200"/>
                  <a:gd name="T2" fmla="*/ 0 w 200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200" y="200"/>
                    </a:moveTo>
                    <a:cubicBezTo>
                      <a:pt x="200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7" name="Freeform 243"/>
              <p:cNvSpPr>
                <a:spLocks/>
              </p:cNvSpPr>
              <p:nvPr userDrawn="1"/>
            </p:nvSpPr>
            <p:spPr bwMode="auto">
              <a:xfrm>
                <a:off x="-201613" y="5516563"/>
                <a:ext cx="687388" cy="688975"/>
              </a:xfrm>
              <a:custGeom>
                <a:avLst/>
                <a:gdLst>
                  <a:gd name="T0" fmla="*/ 187 w 187"/>
                  <a:gd name="T1" fmla="*/ 187 h 187"/>
                  <a:gd name="T2" fmla="*/ 0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187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8" name="Freeform 244"/>
              <p:cNvSpPr>
                <a:spLocks/>
              </p:cNvSpPr>
              <p:nvPr userDrawn="1"/>
            </p:nvSpPr>
            <p:spPr bwMode="auto">
              <a:xfrm>
                <a:off x="-201613" y="5564188"/>
                <a:ext cx="639763" cy="641350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09" name="Freeform 245"/>
              <p:cNvSpPr>
                <a:spLocks/>
              </p:cNvSpPr>
              <p:nvPr userDrawn="1"/>
            </p:nvSpPr>
            <p:spPr bwMode="auto">
              <a:xfrm>
                <a:off x="-201613" y="5613400"/>
                <a:ext cx="592138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0" name="Freeform 246"/>
              <p:cNvSpPr>
                <a:spLocks/>
              </p:cNvSpPr>
              <p:nvPr userDrawn="1"/>
            </p:nvSpPr>
            <p:spPr bwMode="auto">
              <a:xfrm>
                <a:off x="-201613" y="5661025"/>
                <a:ext cx="544513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1" name="Freeform 247"/>
              <p:cNvSpPr>
                <a:spLocks/>
              </p:cNvSpPr>
              <p:nvPr userDrawn="1"/>
            </p:nvSpPr>
            <p:spPr bwMode="auto">
              <a:xfrm>
                <a:off x="-201613" y="5708650"/>
                <a:ext cx="496888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2" name="Freeform 248"/>
              <p:cNvSpPr>
                <a:spLocks/>
              </p:cNvSpPr>
              <p:nvPr userDrawn="1"/>
            </p:nvSpPr>
            <p:spPr bwMode="auto">
              <a:xfrm>
                <a:off x="-201613" y="5753100"/>
                <a:ext cx="449263" cy="452438"/>
              </a:xfrm>
              <a:custGeom>
                <a:avLst/>
                <a:gdLst>
                  <a:gd name="T0" fmla="*/ 122 w 122"/>
                  <a:gd name="T1" fmla="*/ 123 h 123"/>
                  <a:gd name="T2" fmla="*/ 0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122" y="123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3" name="Freeform 249"/>
              <p:cNvSpPr>
                <a:spLocks/>
              </p:cNvSpPr>
              <p:nvPr userDrawn="1"/>
            </p:nvSpPr>
            <p:spPr bwMode="auto">
              <a:xfrm>
                <a:off x="-201613" y="5800725"/>
                <a:ext cx="404813" cy="404813"/>
              </a:xfrm>
              <a:custGeom>
                <a:avLst/>
                <a:gdLst>
                  <a:gd name="T0" fmla="*/ 110 w 110"/>
                  <a:gd name="T1" fmla="*/ 110 h 110"/>
                  <a:gd name="T2" fmla="*/ 0 w 110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10">
                    <a:moveTo>
                      <a:pt x="110" y="110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4" name="Freeform 250"/>
              <p:cNvSpPr>
                <a:spLocks/>
              </p:cNvSpPr>
              <p:nvPr userDrawn="1"/>
            </p:nvSpPr>
            <p:spPr bwMode="auto">
              <a:xfrm>
                <a:off x="-201613" y="5848350"/>
                <a:ext cx="357188" cy="357188"/>
              </a:xfrm>
              <a:custGeom>
                <a:avLst/>
                <a:gdLst>
                  <a:gd name="T0" fmla="*/ 97 w 97"/>
                  <a:gd name="T1" fmla="*/ 97 h 97"/>
                  <a:gd name="T2" fmla="*/ 0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97" y="97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5" name="Freeform 251"/>
              <p:cNvSpPr>
                <a:spLocks/>
              </p:cNvSpPr>
              <p:nvPr userDrawn="1"/>
            </p:nvSpPr>
            <p:spPr bwMode="auto">
              <a:xfrm>
                <a:off x="-201613" y="5895975"/>
                <a:ext cx="309563" cy="309563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7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6" name="Freeform 252"/>
              <p:cNvSpPr>
                <a:spLocks/>
              </p:cNvSpPr>
              <p:nvPr userDrawn="1"/>
            </p:nvSpPr>
            <p:spPr bwMode="auto">
              <a:xfrm>
                <a:off x="-201613" y="5943600"/>
                <a:ext cx="261938" cy="261938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1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7" name="Freeform 253"/>
              <p:cNvSpPr>
                <a:spLocks/>
              </p:cNvSpPr>
              <p:nvPr userDrawn="1"/>
            </p:nvSpPr>
            <p:spPr bwMode="auto">
              <a:xfrm>
                <a:off x="-201613" y="5991225"/>
                <a:ext cx="214313" cy="214313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8" name="Freeform 254"/>
              <p:cNvSpPr>
                <a:spLocks/>
              </p:cNvSpPr>
              <p:nvPr userDrawn="1"/>
            </p:nvSpPr>
            <p:spPr bwMode="auto">
              <a:xfrm>
                <a:off x="-201613" y="6038850"/>
                <a:ext cx="165100" cy="166688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19" name="Freeform 255"/>
              <p:cNvSpPr>
                <a:spLocks/>
              </p:cNvSpPr>
              <p:nvPr userDrawn="1"/>
            </p:nvSpPr>
            <p:spPr bwMode="auto">
              <a:xfrm>
                <a:off x="-201613" y="6083300"/>
                <a:ext cx="117475" cy="122238"/>
              </a:xfrm>
              <a:custGeom>
                <a:avLst/>
                <a:gdLst>
                  <a:gd name="T0" fmla="*/ 32 w 32"/>
                  <a:gd name="T1" fmla="*/ 33 h 33"/>
                  <a:gd name="T2" fmla="*/ 0 w 32"/>
                  <a:gd name="T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3">
                    <a:moveTo>
                      <a:pt x="32" y="33"/>
                    </a:moveTo>
                    <a:cubicBezTo>
                      <a:pt x="32" y="15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0" name="Freeform 256"/>
              <p:cNvSpPr>
                <a:spLocks/>
              </p:cNvSpPr>
              <p:nvPr userDrawn="1"/>
            </p:nvSpPr>
            <p:spPr bwMode="auto">
              <a:xfrm>
                <a:off x="-201613" y="6130925"/>
                <a:ext cx="74613" cy="74613"/>
              </a:xfrm>
              <a:custGeom>
                <a:avLst/>
                <a:gdLst>
                  <a:gd name="T0" fmla="*/ 20 w 20"/>
                  <a:gd name="T1" fmla="*/ 20 h 20"/>
                  <a:gd name="T2" fmla="*/ 0 w 20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20">
                    <a:moveTo>
                      <a:pt x="20" y="20"/>
                    </a:moveTo>
                    <a:cubicBezTo>
                      <a:pt x="20" y="9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1" name="Freeform 257"/>
              <p:cNvSpPr>
                <a:spLocks/>
              </p:cNvSpPr>
              <p:nvPr userDrawn="1"/>
            </p:nvSpPr>
            <p:spPr bwMode="auto">
              <a:xfrm>
                <a:off x="-201613" y="6178550"/>
                <a:ext cx="26988" cy="26988"/>
              </a:xfrm>
              <a:custGeom>
                <a:avLst/>
                <a:gdLst>
                  <a:gd name="T0" fmla="*/ 7 w 7"/>
                  <a:gd name="T1" fmla="*/ 7 h 7"/>
                  <a:gd name="T2" fmla="*/ 0 w 7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7" y="7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2" name="Freeform 258"/>
              <p:cNvSpPr>
                <a:spLocks/>
              </p:cNvSpPr>
              <p:nvPr userDrawn="1"/>
            </p:nvSpPr>
            <p:spPr bwMode="auto">
              <a:xfrm>
                <a:off x="768350" y="6205538"/>
                <a:ext cx="971550" cy="966788"/>
              </a:xfrm>
              <a:custGeom>
                <a:avLst/>
                <a:gdLst>
                  <a:gd name="T0" fmla="*/ 0 w 264"/>
                  <a:gd name="T1" fmla="*/ 0 h 263"/>
                  <a:gd name="T2" fmla="*/ 264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0" y="0"/>
                    </a:moveTo>
                    <a:cubicBezTo>
                      <a:pt x="0" y="145"/>
                      <a:pt x="118" y="263"/>
                      <a:pt x="264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3" name="Freeform 259"/>
              <p:cNvSpPr>
                <a:spLocks/>
              </p:cNvSpPr>
              <p:nvPr userDrawn="1"/>
            </p:nvSpPr>
            <p:spPr bwMode="auto">
              <a:xfrm>
                <a:off x="817562" y="6205538"/>
                <a:ext cx="922338" cy="919163"/>
              </a:xfrm>
              <a:custGeom>
                <a:avLst/>
                <a:gdLst>
                  <a:gd name="T0" fmla="*/ 0 w 251"/>
                  <a:gd name="T1" fmla="*/ 0 h 250"/>
                  <a:gd name="T2" fmla="*/ 251 w 251"/>
                  <a:gd name="T3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0">
                    <a:moveTo>
                      <a:pt x="0" y="0"/>
                    </a:moveTo>
                    <a:cubicBezTo>
                      <a:pt x="0" y="138"/>
                      <a:pt x="112" y="250"/>
                      <a:pt x="251" y="25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4" name="Freeform 260"/>
              <p:cNvSpPr>
                <a:spLocks/>
              </p:cNvSpPr>
              <p:nvPr userDrawn="1"/>
            </p:nvSpPr>
            <p:spPr bwMode="auto">
              <a:xfrm>
                <a:off x="865187" y="6205538"/>
                <a:ext cx="874713" cy="874713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1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5" name="Freeform 261"/>
              <p:cNvSpPr>
                <a:spLocks/>
              </p:cNvSpPr>
              <p:nvPr userDrawn="1"/>
            </p:nvSpPr>
            <p:spPr bwMode="auto">
              <a:xfrm>
                <a:off x="912812" y="6205538"/>
                <a:ext cx="827088" cy="827088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4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6" name="Freeform 262"/>
              <p:cNvSpPr>
                <a:spLocks/>
              </p:cNvSpPr>
              <p:nvPr userDrawn="1"/>
            </p:nvSpPr>
            <p:spPr bwMode="auto">
              <a:xfrm>
                <a:off x="957262" y="6205538"/>
                <a:ext cx="782638" cy="779463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7" name="Freeform 263"/>
              <p:cNvSpPr>
                <a:spLocks/>
              </p:cNvSpPr>
              <p:nvPr userDrawn="1"/>
            </p:nvSpPr>
            <p:spPr bwMode="auto">
              <a:xfrm>
                <a:off x="1004887" y="6205538"/>
                <a:ext cx="735013" cy="731838"/>
              </a:xfrm>
              <a:custGeom>
                <a:avLst/>
                <a:gdLst>
                  <a:gd name="T0" fmla="*/ 0 w 200"/>
                  <a:gd name="T1" fmla="*/ 0 h 199"/>
                  <a:gd name="T2" fmla="*/ 200 w 200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0" y="0"/>
                    </a:moveTo>
                    <a:cubicBezTo>
                      <a:pt x="0" y="110"/>
                      <a:pt x="90" y="199"/>
                      <a:pt x="20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8" name="Freeform 264"/>
              <p:cNvSpPr>
                <a:spLocks/>
              </p:cNvSpPr>
              <p:nvPr userDrawn="1"/>
            </p:nvSpPr>
            <p:spPr bwMode="auto">
              <a:xfrm>
                <a:off x="1052512" y="6205538"/>
                <a:ext cx="687388" cy="684213"/>
              </a:xfrm>
              <a:custGeom>
                <a:avLst/>
                <a:gdLst>
                  <a:gd name="T0" fmla="*/ 0 w 187"/>
                  <a:gd name="T1" fmla="*/ 0 h 186"/>
                  <a:gd name="T2" fmla="*/ 187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0"/>
                    </a:moveTo>
                    <a:cubicBezTo>
                      <a:pt x="0" y="103"/>
                      <a:pt x="84" y="186"/>
                      <a:pt x="187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29" name="Freeform 265"/>
              <p:cNvSpPr>
                <a:spLocks/>
              </p:cNvSpPr>
              <p:nvPr userDrawn="1"/>
            </p:nvSpPr>
            <p:spPr bwMode="auto">
              <a:xfrm>
                <a:off x="1100137" y="6205538"/>
                <a:ext cx="639763" cy="636588"/>
              </a:xfrm>
              <a:custGeom>
                <a:avLst/>
                <a:gdLst>
                  <a:gd name="T0" fmla="*/ 0 w 174"/>
                  <a:gd name="T1" fmla="*/ 0 h 173"/>
                  <a:gd name="T2" fmla="*/ 174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0" y="0"/>
                    </a:moveTo>
                    <a:cubicBezTo>
                      <a:pt x="0" y="96"/>
                      <a:pt x="78" y="173"/>
                      <a:pt x="174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0" name="Freeform 266"/>
              <p:cNvSpPr>
                <a:spLocks/>
              </p:cNvSpPr>
              <p:nvPr userDrawn="1"/>
            </p:nvSpPr>
            <p:spPr bwMode="auto">
              <a:xfrm>
                <a:off x="1147762" y="6205538"/>
                <a:ext cx="592138" cy="588963"/>
              </a:xfrm>
              <a:custGeom>
                <a:avLst/>
                <a:gdLst>
                  <a:gd name="T0" fmla="*/ 0 w 161"/>
                  <a:gd name="T1" fmla="*/ 0 h 160"/>
                  <a:gd name="T2" fmla="*/ 161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0" y="0"/>
                    </a:moveTo>
                    <a:cubicBezTo>
                      <a:pt x="0" y="88"/>
                      <a:pt x="72" y="160"/>
                      <a:pt x="161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1" name="Freeform 267"/>
              <p:cNvSpPr>
                <a:spLocks/>
              </p:cNvSpPr>
              <p:nvPr userDrawn="1"/>
            </p:nvSpPr>
            <p:spPr bwMode="auto">
              <a:xfrm>
                <a:off x="1195387" y="6205538"/>
                <a:ext cx="544513" cy="544513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1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2" name="Freeform 268"/>
              <p:cNvSpPr>
                <a:spLocks/>
              </p:cNvSpPr>
              <p:nvPr userDrawn="1"/>
            </p:nvSpPr>
            <p:spPr bwMode="auto">
              <a:xfrm>
                <a:off x="1243012" y="6205538"/>
                <a:ext cx="496888" cy="496888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4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3" name="Freeform 269"/>
              <p:cNvSpPr>
                <a:spLocks/>
              </p:cNvSpPr>
              <p:nvPr userDrawn="1"/>
            </p:nvSpPr>
            <p:spPr bwMode="auto">
              <a:xfrm>
                <a:off x="1290637" y="6205538"/>
                <a:ext cx="449263" cy="447675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7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4" name="Freeform 270"/>
              <p:cNvSpPr>
                <a:spLocks/>
              </p:cNvSpPr>
              <p:nvPr userDrawn="1"/>
            </p:nvSpPr>
            <p:spPr bwMode="auto">
              <a:xfrm>
                <a:off x="1335087" y="6205538"/>
                <a:ext cx="404813" cy="400050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0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5" name="Freeform 271"/>
              <p:cNvSpPr>
                <a:spLocks/>
              </p:cNvSpPr>
              <p:nvPr userDrawn="1"/>
            </p:nvSpPr>
            <p:spPr bwMode="auto">
              <a:xfrm>
                <a:off x="1382712" y="6205538"/>
                <a:ext cx="357188" cy="352425"/>
              </a:xfrm>
              <a:custGeom>
                <a:avLst/>
                <a:gdLst>
                  <a:gd name="T0" fmla="*/ 0 w 97"/>
                  <a:gd name="T1" fmla="*/ 0 h 96"/>
                  <a:gd name="T2" fmla="*/ 97 w 97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0"/>
                    </a:moveTo>
                    <a:cubicBezTo>
                      <a:pt x="0" y="53"/>
                      <a:pt x="43" y="96"/>
                      <a:pt x="97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6" name="Freeform 272"/>
              <p:cNvSpPr>
                <a:spLocks/>
              </p:cNvSpPr>
              <p:nvPr userDrawn="1"/>
            </p:nvSpPr>
            <p:spPr bwMode="auto">
              <a:xfrm>
                <a:off x="1430337" y="6205538"/>
                <a:ext cx="309563" cy="304800"/>
              </a:xfrm>
              <a:custGeom>
                <a:avLst/>
                <a:gdLst>
                  <a:gd name="T0" fmla="*/ 0 w 84"/>
                  <a:gd name="T1" fmla="*/ 0 h 83"/>
                  <a:gd name="T2" fmla="*/ 84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0"/>
                    </a:moveTo>
                    <a:cubicBezTo>
                      <a:pt x="0" y="46"/>
                      <a:pt x="38" y="83"/>
                      <a:pt x="84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7" name="Freeform 273"/>
              <p:cNvSpPr>
                <a:spLocks/>
              </p:cNvSpPr>
              <p:nvPr userDrawn="1"/>
            </p:nvSpPr>
            <p:spPr bwMode="auto">
              <a:xfrm>
                <a:off x="1477962" y="6205538"/>
                <a:ext cx="261938" cy="257175"/>
              </a:xfrm>
              <a:custGeom>
                <a:avLst/>
                <a:gdLst>
                  <a:gd name="T0" fmla="*/ 0 w 71"/>
                  <a:gd name="T1" fmla="*/ 0 h 70"/>
                  <a:gd name="T2" fmla="*/ 71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0" y="0"/>
                    </a:moveTo>
                    <a:cubicBezTo>
                      <a:pt x="0" y="39"/>
                      <a:pt x="32" y="70"/>
                      <a:pt x="71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8" name="Freeform 274"/>
              <p:cNvSpPr>
                <a:spLocks/>
              </p:cNvSpPr>
              <p:nvPr userDrawn="1"/>
            </p:nvSpPr>
            <p:spPr bwMode="auto">
              <a:xfrm>
                <a:off x="1525587" y="6205538"/>
                <a:ext cx="214313" cy="209550"/>
              </a:xfrm>
              <a:custGeom>
                <a:avLst/>
                <a:gdLst>
                  <a:gd name="T0" fmla="*/ 0 w 58"/>
                  <a:gd name="T1" fmla="*/ 0 h 57"/>
                  <a:gd name="T2" fmla="*/ 58 w 58"/>
                  <a:gd name="T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7">
                    <a:moveTo>
                      <a:pt x="0" y="0"/>
                    </a:moveTo>
                    <a:cubicBezTo>
                      <a:pt x="0" y="32"/>
                      <a:pt x="26" y="57"/>
                      <a:pt x="58" y="5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39" name="Freeform 275"/>
              <p:cNvSpPr>
                <a:spLocks/>
              </p:cNvSpPr>
              <p:nvPr userDrawn="1"/>
            </p:nvSpPr>
            <p:spPr bwMode="auto">
              <a:xfrm>
                <a:off x="1573212" y="6205538"/>
                <a:ext cx="166688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4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0" name="Freeform 276"/>
              <p:cNvSpPr>
                <a:spLocks/>
              </p:cNvSpPr>
              <p:nvPr userDrawn="1"/>
            </p:nvSpPr>
            <p:spPr bwMode="auto">
              <a:xfrm>
                <a:off x="1622425" y="62055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7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1" name="Freeform 277"/>
              <p:cNvSpPr>
                <a:spLocks/>
              </p:cNvSpPr>
              <p:nvPr userDrawn="1"/>
            </p:nvSpPr>
            <p:spPr bwMode="auto">
              <a:xfrm>
                <a:off x="1665287" y="6205538"/>
                <a:ext cx="74613" cy="69850"/>
              </a:xfrm>
              <a:custGeom>
                <a:avLst/>
                <a:gdLst>
                  <a:gd name="T0" fmla="*/ 0 w 20"/>
                  <a:gd name="T1" fmla="*/ 0 h 19"/>
                  <a:gd name="T2" fmla="*/ 20 w 20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0" y="0"/>
                    </a:moveTo>
                    <a:cubicBezTo>
                      <a:pt x="0" y="10"/>
                      <a:pt x="9" y="19"/>
                      <a:pt x="2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2" name="Freeform 278"/>
              <p:cNvSpPr>
                <a:spLocks/>
              </p:cNvSpPr>
              <p:nvPr userDrawn="1"/>
            </p:nvSpPr>
            <p:spPr bwMode="auto">
              <a:xfrm>
                <a:off x="1712912" y="6205538"/>
                <a:ext cx="26988" cy="22225"/>
              </a:xfrm>
              <a:custGeom>
                <a:avLst/>
                <a:gdLst>
                  <a:gd name="T0" fmla="*/ 0 w 7"/>
                  <a:gd name="T1" fmla="*/ 0 h 6"/>
                  <a:gd name="T2" fmla="*/ 7 w 7"/>
                  <a:gd name="T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0" y="3"/>
                      <a:pt x="3" y="6"/>
                      <a:pt x="7" y="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3" name="Freeform 279"/>
              <p:cNvSpPr>
                <a:spLocks/>
              </p:cNvSpPr>
              <p:nvPr userDrawn="1"/>
            </p:nvSpPr>
            <p:spPr bwMode="auto">
              <a:xfrm>
                <a:off x="1739900" y="6205538"/>
                <a:ext cx="966788" cy="966788"/>
              </a:xfrm>
              <a:custGeom>
                <a:avLst/>
                <a:gdLst>
                  <a:gd name="T0" fmla="*/ 263 w 263"/>
                  <a:gd name="T1" fmla="*/ 0 h 263"/>
                  <a:gd name="T2" fmla="*/ 0 w 263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3">
                    <a:moveTo>
                      <a:pt x="263" y="0"/>
                    </a:moveTo>
                    <a:cubicBezTo>
                      <a:pt x="118" y="0"/>
                      <a:pt x="0" y="118"/>
                      <a:pt x="0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4" name="Freeform 280"/>
              <p:cNvSpPr>
                <a:spLocks/>
              </p:cNvSpPr>
              <p:nvPr userDrawn="1"/>
            </p:nvSpPr>
            <p:spPr bwMode="auto">
              <a:xfrm>
                <a:off x="1787525" y="6249988"/>
                <a:ext cx="919163" cy="922338"/>
              </a:xfrm>
              <a:custGeom>
                <a:avLst/>
                <a:gdLst>
                  <a:gd name="T0" fmla="*/ 250 w 250"/>
                  <a:gd name="T1" fmla="*/ 0 h 251"/>
                  <a:gd name="T2" fmla="*/ 0 w 250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0" h="251">
                    <a:moveTo>
                      <a:pt x="250" y="0"/>
                    </a:moveTo>
                    <a:cubicBezTo>
                      <a:pt x="112" y="0"/>
                      <a:pt x="0" y="113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5" name="Freeform 281"/>
              <p:cNvSpPr>
                <a:spLocks/>
              </p:cNvSpPr>
              <p:nvPr userDrawn="1"/>
            </p:nvSpPr>
            <p:spPr bwMode="auto">
              <a:xfrm>
                <a:off x="1831975" y="6297613"/>
                <a:ext cx="874713" cy="874713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7" y="0"/>
                      <a:pt x="0" y="107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6" name="Freeform 282"/>
              <p:cNvSpPr>
                <a:spLocks/>
              </p:cNvSpPr>
              <p:nvPr userDrawn="1"/>
            </p:nvSpPr>
            <p:spPr bwMode="auto">
              <a:xfrm>
                <a:off x="1879600" y="6345238"/>
                <a:ext cx="827088" cy="827088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1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7" name="Freeform 283"/>
              <p:cNvSpPr>
                <a:spLocks/>
              </p:cNvSpPr>
              <p:nvPr userDrawn="1"/>
            </p:nvSpPr>
            <p:spPr bwMode="auto">
              <a:xfrm>
                <a:off x="1927225" y="6392863"/>
                <a:ext cx="779463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8" name="Freeform 284"/>
              <p:cNvSpPr>
                <a:spLocks/>
              </p:cNvSpPr>
              <p:nvPr userDrawn="1"/>
            </p:nvSpPr>
            <p:spPr bwMode="auto">
              <a:xfrm>
                <a:off x="1974850" y="6440488"/>
                <a:ext cx="731838" cy="731838"/>
              </a:xfrm>
              <a:custGeom>
                <a:avLst/>
                <a:gdLst>
                  <a:gd name="T0" fmla="*/ 199 w 199"/>
                  <a:gd name="T1" fmla="*/ 0 h 199"/>
                  <a:gd name="T2" fmla="*/ 0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0"/>
                    </a:moveTo>
                    <a:cubicBezTo>
                      <a:pt x="89" y="0"/>
                      <a:pt x="0" y="89"/>
                      <a:pt x="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49" name="Freeform 285"/>
              <p:cNvSpPr>
                <a:spLocks/>
              </p:cNvSpPr>
              <p:nvPr userDrawn="1"/>
            </p:nvSpPr>
            <p:spPr bwMode="auto">
              <a:xfrm>
                <a:off x="2022475" y="6488113"/>
                <a:ext cx="684213" cy="684213"/>
              </a:xfrm>
              <a:custGeom>
                <a:avLst/>
                <a:gdLst>
                  <a:gd name="T0" fmla="*/ 186 w 186"/>
                  <a:gd name="T1" fmla="*/ 0 h 186"/>
                  <a:gd name="T2" fmla="*/ 0 w 186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186" y="0"/>
                    </a:moveTo>
                    <a:cubicBezTo>
                      <a:pt x="83" y="0"/>
                      <a:pt x="0" y="83"/>
                      <a:pt x="0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0" name="Freeform 286"/>
              <p:cNvSpPr>
                <a:spLocks/>
              </p:cNvSpPr>
              <p:nvPr userDrawn="1"/>
            </p:nvSpPr>
            <p:spPr bwMode="auto">
              <a:xfrm>
                <a:off x="2070100" y="6535738"/>
                <a:ext cx="636588" cy="636588"/>
              </a:xfrm>
              <a:custGeom>
                <a:avLst/>
                <a:gdLst>
                  <a:gd name="T0" fmla="*/ 173 w 173"/>
                  <a:gd name="T1" fmla="*/ 0 h 173"/>
                  <a:gd name="T2" fmla="*/ 0 w 173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3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1" name="Freeform 287"/>
              <p:cNvSpPr>
                <a:spLocks/>
              </p:cNvSpPr>
              <p:nvPr userDrawn="1"/>
            </p:nvSpPr>
            <p:spPr bwMode="auto">
              <a:xfrm>
                <a:off x="2117725" y="6583363"/>
                <a:ext cx="588963" cy="588963"/>
              </a:xfrm>
              <a:custGeom>
                <a:avLst/>
                <a:gdLst>
                  <a:gd name="T0" fmla="*/ 160 w 160"/>
                  <a:gd name="T1" fmla="*/ 0 h 160"/>
                  <a:gd name="T2" fmla="*/ 0 w 160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0" h="160">
                    <a:moveTo>
                      <a:pt x="160" y="0"/>
                    </a:moveTo>
                    <a:cubicBezTo>
                      <a:pt x="72" y="0"/>
                      <a:pt x="0" y="71"/>
                      <a:pt x="0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2" name="Freeform 288"/>
              <p:cNvSpPr>
                <a:spLocks/>
              </p:cNvSpPr>
              <p:nvPr userDrawn="1"/>
            </p:nvSpPr>
            <p:spPr bwMode="auto">
              <a:xfrm>
                <a:off x="2165350" y="6627813"/>
                <a:ext cx="541338" cy="544513"/>
              </a:xfrm>
              <a:custGeom>
                <a:avLst/>
                <a:gdLst>
                  <a:gd name="T0" fmla="*/ 147 w 147"/>
                  <a:gd name="T1" fmla="*/ 0 h 148"/>
                  <a:gd name="T2" fmla="*/ 0 w 147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7" h="148">
                    <a:moveTo>
                      <a:pt x="147" y="0"/>
                    </a:moveTo>
                    <a:cubicBezTo>
                      <a:pt x="66" y="0"/>
                      <a:pt x="0" y="67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3" name="Freeform 289"/>
              <p:cNvSpPr>
                <a:spLocks/>
              </p:cNvSpPr>
              <p:nvPr userDrawn="1"/>
            </p:nvSpPr>
            <p:spPr bwMode="auto">
              <a:xfrm>
                <a:off x="2209800" y="6675438"/>
                <a:ext cx="496888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1" y="0"/>
                      <a:pt x="0" y="61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4" name="Freeform 290"/>
              <p:cNvSpPr>
                <a:spLocks/>
              </p:cNvSpPr>
              <p:nvPr userDrawn="1"/>
            </p:nvSpPr>
            <p:spPr bwMode="auto">
              <a:xfrm>
                <a:off x="2257425" y="6723063"/>
                <a:ext cx="449263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5" y="0"/>
                      <a:pt x="0" y="55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5" name="Freeform 291"/>
              <p:cNvSpPr>
                <a:spLocks/>
              </p:cNvSpPr>
              <p:nvPr userDrawn="1"/>
            </p:nvSpPr>
            <p:spPr bwMode="auto">
              <a:xfrm>
                <a:off x="2305050" y="6772275"/>
                <a:ext cx="401638" cy="400050"/>
              </a:xfrm>
              <a:custGeom>
                <a:avLst/>
                <a:gdLst>
                  <a:gd name="T0" fmla="*/ 109 w 109"/>
                  <a:gd name="T1" fmla="*/ 0 h 109"/>
                  <a:gd name="T2" fmla="*/ 0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0"/>
                    </a:moveTo>
                    <a:cubicBezTo>
                      <a:pt x="49" y="0"/>
                      <a:pt x="0" y="49"/>
                      <a:pt x="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6" name="Freeform 292"/>
              <p:cNvSpPr>
                <a:spLocks/>
              </p:cNvSpPr>
              <p:nvPr userDrawn="1"/>
            </p:nvSpPr>
            <p:spPr bwMode="auto">
              <a:xfrm>
                <a:off x="2352675" y="6819900"/>
                <a:ext cx="354013" cy="352425"/>
              </a:xfrm>
              <a:custGeom>
                <a:avLst/>
                <a:gdLst>
                  <a:gd name="T0" fmla="*/ 96 w 96"/>
                  <a:gd name="T1" fmla="*/ 0 h 96"/>
                  <a:gd name="T2" fmla="*/ 0 w 96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96" y="0"/>
                    </a:moveTo>
                    <a:cubicBezTo>
                      <a:pt x="43" y="0"/>
                      <a:pt x="0" y="43"/>
                      <a:pt x="0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7" name="Freeform 293"/>
              <p:cNvSpPr>
                <a:spLocks/>
              </p:cNvSpPr>
              <p:nvPr userDrawn="1"/>
            </p:nvSpPr>
            <p:spPr bwMode="auto">
              <a:xfrm>
                <a:off x="2400300" y="6867525"/>
                <a:ext cx="306388" cy="304800"/>
              </a:xfrm>
              <a:custGeom>
                <a:avLst/>
                <a:gdLst>
                  <a:gd name="T0" fmla="*/ 83 w 83"/>
                  <a:gd name="T1" fmla="*/ 0 h 83"/>
                  <a:gd name="T2" fmla="*/ 0 w 83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3">
                    <a:moveTo>
                      <a:pt x="83" y="0"/>
                    </a:moveTo>
                    <a:cubicBezTo>
                      <a:pt x="37" y="0"/>
                      <a:pt x="0" y="37"/>
                      <a:pt x="0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58" name="Freeform 294"/>
              <p:cNvSpPr>
                <a:spLocks/>
              </p:cNvSpPr>
              <p:nvPr userDrawn="1"/>
            </p:nvSpPr>
            <p:spPr bwMode="auto">
              <a:xfrm>
                <a:off x="2447925" y="6915150"/>
                <a:ext cx="258763" cy="257175"/>
              </a:xfrm>
              <a:custGeom>
                <a:avLst/>
                <a:gdLst>
                  <a:gd name="T0" fmla="*/ 70 w 70"/>
                  <a:gd name="T1" fmla="*/ 0 h 70"/>
                  <a:gd name="T2" fmla="*/ 0 w 70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0">
                    <a:moveTo>
                      <a:pt x="70" y="0"/>
                    </a:moveTo>
                    <a:cubicBezTo>
                      <a:pt x="31" y="0"/>
                      <a:pt x="0" y="31"/>
                      <a:pt x="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4" name="Freeform 300"/>
              <p:cNvSpPr>
                <a:spLocks/>
              </p:cNvSpPr>
              <p:nvPr userDrawn="1"/>
            </p:nvSpPr>
            <p:spPr bwMode="auto">
              <a:xfrm>
                <a:off x="1739900" y="5233988"/>
                <a:ext cx="966788" cy="971550"/>
              </a:xfrm>
              <a:custGeom>
                <a:avLst/>
                <a:gdLst>
                  <a:gd name="T0" fmla="*/ 263 w 263"/>
                  <a:gd name="T1" fmla="*/ 264 h 264"/>
                  <a:gd name="T2" fmla="*/ 0 w 263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263" y="264"/>
                    </a:moveTo>
                    <a:cubicBezTo>
                      <a:pt x="263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5" name="Freeform 301"/>
              <p:cNvSpPr>
                <a:spLocks/>
              </p:cNvSpPr>
              <p:nvPr userDrawn="1"/>
            </p:nvSpPr>
            <p:spPr bwMode="auto">
              <a:xfrm>
                <a:off x="1739900" y="52816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6" name="Freeform 302"/>
              <p:cNvSpPr>
                <a:spLocks/>
              </p:cNvSpPr>
              <p:nvPr userDrawn="1"/>
            </p:nvSpPr>
            <p:spPr bwMode="auto">
              <a:xfrm>
                <a:off x="1739900" y="5329238"/>
                <a:ext cx="874713" cy="876300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6"/>
                      <a:pt x="13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7" name="Freeform 303"/>
              <p:cNvSpPr>
                <a:spLocks/>
              </p:cNvSpPr>
              <p:nvPr userDrawn="1"/>
            </p:nvSpPr>
            <p:spPr bwMode="auto">
              <a:xfrm>
                <a:off x="1739900" y="5373688"/>
                <a:ext cx="827088" cy="831850"/>
              </a:xfrm>
              <a:custGeom>
                <a:avLst/>
                <a:gdLst>
                  <a:gd name="T0" fmla="*/ 225 w 225"/>
                  <a:gd name="T1" fmla="*/ 226 h 226"/>
                  <a:gd name="T2" fmla="*/ 0 w 225"/>
                  <a:gd name="T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6">
                    <a:moveTo>
                      <a:pt x="225" y="226"/>
                    </a:moveTo>
                    <a:cubicBezTo>
                      <a:pt x="225" y="101"/>
                      <a:pt x="12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8" name="Freeform 304"/>
              <p:cNvSpPr>
                <a:spLocks/>
              </p:cNvSpPr>
              <p:nvPr userDrawn="1"/>
            </p:nvSpPr>
            <p:spPr bwMode="auto">
              <a:xfrm>
                <a:off x="1739900" y="5421313"/>
                <a:ext cx="777875" cy="784225"/>
              </a:xfrm>
              <a:custGeom>
                <a:avLst/>
                <a:gdLst>
                  <a:gd name="T0" fmla="*/ 212 w 212"/>
                  <a:gd name="T1" fmla="*/ 213 h 213"/>
                  <a:gd name="T2" fmla="*/ 0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212" y="213"/>
                    </a:moveTo>
                    <a:cubicBezTo>
                      <a:pt x="212" y="95"/>
                      <a:pt x="11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69" name="Freeform 305"/>
              <p:cNvSpPr>
                <a:spLocks/>
              </p:cNvSpPr>
              <p:nvPr userDrawn="1"/>
            </p:nvSpPr>
            <p:spPr bwMode="auto">
              <a:xfrm>
                <a:off x="1739900" y="5468938"/>
                <a:ext cx="730250" cy="736600"/>
              </a:xfrm>
              <a:custGeom>
                <a:avLst/>
                <a:gdLst>
                  <a:gd name="T0" fmla="*/ 199 w 199"/>
                  <a:gd name="T1" fmla="*/ 200 h 200"/>
                  <a:gd name="T2" fmla="*/ 0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200"/>
                    </a:moveTo>
                    <a:cubicBezTo>
                      <a:pt x="199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0" name="Freeform 306"/>
              <p:cNvSpPr>
                <a:spLocks/>
              </p:cNvSpPr>
              <p:nvPr userDrawn="1"/>
            </p:nvSpPr>
            <p:spPr bwMode="auto">
              <a:xfrm>
                <a:off x="1739900" y="5516563"/>
                <a:ext cx="682625" cy="688975"/>
              </a:xfrm>
              <a:custGeom>
                <a:avLst/>
                <a:gdLst>
                  <a:gd name="T0" fmla="*/ 186 w 186"/>
                  <a:gd name="T1" fmla="*/ 187 h 187"/>
                  <a:gd name="T2" fmla="*/ 0 w 186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186" y="187"/>
                    </a:moveTo>
                    <a:cubicBezTo>
                      <a:pt x="186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1" name="Freeform 307"/>
              <p:cNvSpPr>
                <a:spLocks/>
              </p:cNvSpPr>
              <p:nvPr userDrawn="1"/>
            </p:nvSpPr>
            <p:spPr bwMode="auto">
              <a:xfrm>
                <a:off x="1739900" y="5564188"/>
                <a:ext cx="635000" cy="641350"/>
              </a:xfrm>
              <a:custGeom>
                <a:avLst/>
                <a:gdLst>
                  <a:gd name="T0" fmla="*/ 173 w 173"/>
                  <a:gd name="T1" fmla="*/ 174 h 174"/>
                  <a:gd name="T2" fmla="*/ 0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173" y="174"/>
                    </a:moveTo>
                    <a:cubicBezTo>
                      <a:pt x="173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2" name="Freeform 308"/>
              <p:cNvSpPr>
                <a:spLocks/>
              </p:cNvSpPr>
              <p:nvPr userDrawn="1"/>
            </p:nvSpPr>
            <p:spPr bwMode="auto">
              <a:xfrm>
                <a:off x="1739900" y="5613400"/>
                <a:ext cx="590550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3" name="Freeform 309"/>
              <p:cNvSpPr>
                <a:spLocks/>
              </p:cNvSpPr>
              <p:nvPr userDrawn="1"/>
            </p:nvSpPr>
            <p:spPr bwMode="auto">
              <a:xfrm>
                <a:off x="1739900" y="5661025"/>
                <a:ext cx="542925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4" name="Freeform 310"/>
              <p:cNvSpPr>
                <a:spLocks/>
              </p:cNvSpPr>
              <p:nvPr userDrawn="1"/>
            </p:nvSpPr>
            <p:spPr bwMode="auto">
              <a:xfrm>
                <a:off x="1739900" y="5708650"/>
                <a:ext cx="495300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5" name="Freeform 311"/>
              <p:cNvSpPr>
                <a:spLocks/>
              </p:cNvSpPr>
              <p:nvPr userDrawn="1"/>
            </p:nvSpPr>
            <p:spPr bwMode="auto">
              <a:xfrm>
                <a:off x="1739900" y="5753100"/>
                <a:ext cx="447675" cy="452438"/>
              </a:xfrm>
              <a:custGeom>
                <a:avLst/>
                <a:gdLst>
                  <a:gd name="T0" fmla="*/ 122 w 122"/>
                  <a:gd name="T1" fmla="*/ 123 h 123"/>
                  <a:gd name="T2" fmla="*/ 0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122" y="123"/>
                    </a:moveTo>
                    <a:cubicBezTo>
                      <a:pt x="122" y="55"/>
                      <a:pt x="6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6" name="Freeform 312"/>
              <p:cNvSpPr>
                <a:spLocks/>
              </p:cNvSpPr>
              <p:nvPr userDrawn="1"/>
            </p:nvSpPr>
            <p:spPr bwMode="auto">
              <a:xfrm>
                <a:off x="1739900" y="5800725"/>
                <a:ext cx="400050" cy="404813"/>
              </a:xfrm>
              <a:custGeom>
                <a:avLst/>
                <a:gdLst>
                  <a:gd name="T0" fmla="*/ 109 w 109"/>
                  <a:gd name="T1" fmla="*/ 110 h 110"/>
                  <a:gd name="T2" fmla="*/ 0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110"/>
                    </a:moveTo>
                    <a:cubicBezTo>
                      <a:pt x="109" y="49"/>
                      <a:pt x="6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7" name="Freeform 313"/>
              <p:cNvSpPr>
                <a:spLocks/>
              </p:cNvSpPr>
              <p:nvPr userDrawn="1"/>
            </p:nvSpPr>
            <p:spPr bwMode="auto">
              <a:xfrm>
                <a:off x="1739900" y="5848350"/>
                <a:ext cx="352425" cy="357188"/>
              </a:xfrm>
              <a:custGeom>
                <a:avLst/>
                <a:gdLst>
                  <a:gd name="T0" fmla="*/ 96 w 96"/>
                  <a:gd name="T1" fmla="*/ 97 h 97"/>
                  <a:gd name="T2" fmla="*/ 0 w 96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96" y="97"/>
                    </a:moveTo>
                    <a:cubicBezTo>
                      <a:pt x="96" y="43"/>
                      <a:pt x="5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8" name="Freeform 314"/>
              <p:cNvSpPr>
                <a:spLocks/>
              </p:cNvSpPr>
              <p:nvPr userDrawn="1"/>
            </p:nvSpPr>
            <p:spPr bwMode="auto">
              <a:xfrm>
                <a:off x="1739900" y="5895975"/>
                <a:ext cx="304800" cy="309563"/>
              </a:xfrm>
              <a:custGeom>
                <a:avLst/>
                <a:gdLst>
                  <a:gd name="T0" fmla="*/ 83 w 83"/>
                  <a:gd name="T1" fmla="*/ 84 h 84"/>
                  <a:gd name="T2" fmla="*/ 0 w 83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83" y="84"/>
                    </a:moveTo>
                    <a:cubicBezTo>
                      <a:pt x="83" y="37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79" name="Freeform 315"/>
              <p:cNvSpPr>
                <a:spLocks/>
              </p:cNvSpPr>
              <p:nvPr userDrawn="1"/>
            </p:nvSpPr>
            <p:spPr bwMode="auto">
              <a:xfrm>
                <a:off x="1739900" y="5943600"/>
                <a:ext cx="257175" cy="261938"/>
              </a:xfrm>
              <a:custGeom>
                <a:avLst/>
                <a:gdLst>
                  <a:gd name="T0" fmla="*/ 70 w 70"/>
                  <a:gd name="T1" fmla="*/ 71 h 71"/>
                  <a:gd name="T2" fmla="*/ 0 w 70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70" y="71"/>
                    </a:moveTo>
                    <a:cubicBezTo>
                      <a:pt x="70" y="31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0" name="Freeform 316"/>
              <p:cNvSpPr>
                <a:spLocks/>
              </p:cNvSpPr>
              <p:nvPr userDrawn="1"/>
            </p:nvSpPr>
            <p:spPr bwMode="auto">
              <a:xfrm>
                <a:off x="1739900" y="5991225"/>
                <a:ext cx="212725" cy="214313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1" name="Freeform 317"/>
              <p:cNvSpPr>
                <a:spLocks/>
              </p:cNvSpPr>
              <p:nvPr userDrawn="1"/>
            </p:nvSpPr>
            <p:spPr bwMode="auto">
              <a:xfrm>
                <a:off x="1739900" y="6038850"/>
                <a:ext cx="165100" cy="166688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2" name="Freeform 318"/>
              <p:cNvSpPr>
                <a:spLocks/>
              </p:cNvSpPr>
              <p:nvPr userDrawn="1"/>
            </p:nvSpPr>
            <p:spPr bwMode="auto">
              <a:xfrm>
                <a:off x="1739900" y="6083300"/>
                <a:ext cx="117475" cy="122238"/>
              </a:xfrm>
              <a:custGeom>
                <a:avLst/>
                <a:gdLst>
                  <a:gd name="T0" fmla="*/ 32 w 32"/>
                  <a:gd name="T1" fmla="*/ 33 h 33"/>
                  <a:gd name="T2" fmla="*/ 0 w 32"/>
                  <a:gd name="T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3">
                    <a:moveTo>
                      <a:pt x="32" y="33"/>
                    </a:moveTo>
                    <a:cubicBezTo>
                      <a:pt x="32" y="15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3" name="Freeform 319"/>
              <p:cNvSpPr>
                <a:spLocks/>
              </p:cNvSpPr>
              <p:nvPr userDrawn="1"/>
            </p:nvSpPr>
            <p:spPr bwMode="auto">
              <a:xfrm>
                <a:off x="1739900" y="6130925"/>
                <a:ext cx="69850" cy="74613"/>
              </a:xfrm>
              <a:custGeom>
                <a:avLst/>
                <a:gdLst>
                  <a:gd name="T0" fmla="*/ 19 w 19"/>
                  <a:gd name="T1" fmla="*/ 20 h 20"/>
                  <a:gd name="T2" fmla="*/ 0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19" y="20"/>
                    </a:moveTo>
                    <a:cubicBezTo>
                      <a:pt x="19" y="9"/>
                      <a:pt x="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4" name="Freeform 320"/>
              <p:cNvSpPr>
                <a:spLocks/>
              </p:cNvSpPr>
              <p:nvPr userDrawn="1"/>
            </p:nvSpPr>
            <p:spPr bwMode="auto">
              <a:xfrm>
                <a:off x="1739900" y="6178550"/>
                <a:ext cx="22225" cy="26988"/>
              </a:xfrm>
              <a:custGeom>
                <a:avLst/>
                <a:gdLst>
                  <a:gd name="T0" fmla="*/ 6 w 6"/>
                  <a:gd name="T1" fmla="*/ 7 h 7"/>
                  <a:gd name="T2" fmla="*/ 0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7"/>
                    </a:moveTo>
                    <a:cubicBezTo>
                      <a:pt x="6" y="3"/>
                      <a:pt x="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5" name="Freeform 321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971550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6" name="Freeform 322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923925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7" name="Freeform 323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874713" cy="874713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1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8" name="Freeform 324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827088" cy="827088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4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89" name="Freeform 325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779463" cy="779463"/>
              </a:xfrm>
              <a:custGeom>
                <a:avLst/>
                <a:gdLst>
                  <a:gd name="T0" fmla="*/ 0 w 212"/>
                  <a:gd name="T1" fmla="*/ 212 h 212"/>
                  <a:gd name="T2" fmla="*/ 212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212"/>
                    </a:moveTo>
                    <a:cubicBezTo>
                      <a:pt x="117" y="212"/>
                      <a:pt x="212" y="117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0" name="Freeform 326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731838" cy="731838"/>
              </a:xfrm>
              <a:custGeom>
                <a:avLst/>
                <a:gdLst>
                  <a:gd name="T0" fmla="*/ 0 w 199"/>
                  <a:gd name="T1" fmla="*/ 199 h 199"/>
                  <a:gd name="T2" fmla="*/ 199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199"/>
                    </a:moveTo>
                    <a:cubicBezTo>
                      <a:pt x="110" y="199"/>
                      <a:pt x="199" y="110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1" name="Freeform 327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687388" cy="684213"/>
              </a:xfrm>
              <a:custGeom>
                <a:avLst/>
                <a:gdLst>
                  <a:gd name="T0" fmla="*/ 0 w 187"/>
                  <a:gd name="T1" fmla="*/ 186 h 186"/>
                  <a:gd name="T2" fmla="*/ 187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186"/>
                    </a:moveTo>
                    <a:cubicBezTo>
                      <a:pt x="103" y="186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2" name="Freeform 328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639763" cy="639763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3" name="Freeform 329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592138" cy="592138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4" name="Freeform 330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544513" cy="544513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5" name="Freeform 331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496888" cy="496888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6" name="Freeform 332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449263" cy="449263"/>
              </a:xfrm>
              <a:custGeom>
                <a:avLst/>
                <a:gdLst>
                  <a:gd name="T0" fmla="*/ 0 w 122"/>
                  <a:gd name="T1" fmla="*/ 122 h 122"/>
                  <a:gd name="T2" fmla="*/ 122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122"/>
                    </a:moveTo>
                    <a:cubicBezTo>
                      <a:pt x="68" y="122"/>
                      <a:pt x="122" y="67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7" name="Freeform 333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401638" cy="401638"/>
              </a:xfrm>
              <a:custGeom>
                <a:avLst/>
                <a:gdLst>
                  <a:gd name="T0" fmla="*/ 0 w 109"/>
                  <a:gd name="T1" fmla="*/ 109 h 109"/>
                  <a:gd name="T2" fmla="*/ 109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109"/>
                    </a:moveTo>
                    <a:cubicBezTo>
                      <a:pt x="60" y="109"/>
                      <a:pt x="109" y="60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8" name="Freeform 334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354013" cy="352425"/>
              </a:xfrm>
              <a:custGeom>
                <a:avLst/>
                <a:gdLst>
                  <a:gd name="T0" fmla="*/ 0 w 96"/>
                  <a:gd name="T1" fmla="*/ 96 h 96"/>
                  <a:gd name="T2" fmla="*/ 96 w 96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0" y="96"/>
                    </a:moveTo>
                    <a:cubicBezTo>
                      <a:pt x="53" y="96"/>
                      <a:pt x="96" y="53"/>
                      <a:pt x="9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899" name="Freeform 335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309563" cy="304800"/>
              </a:xfrm>
              <a:custGeom>
                <a:avLst/>
                <a:gdLst>
                  <a:gd name="T0" fmla="*/ 0 w 84"/>
                  <a:gd name="T1" fmla="*/ 83 h 83"/>
                  <a:gd name="T2" fmla="*/ 84 w 84"/>
                  <a:gd name="T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83"/>
                    </a:moveTo>
                    <a:cubicBezTo>
                      <a:pt x="46" y="83"/>
                      <a:pt x="84" y="46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0" name="Freeform 336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261938" cy="260350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1" name="Freeform 337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214313" cy="212725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2" name="Freeform 338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166688" cy="165100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3" name="Freeform 339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119063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4" name="Freeform 340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69850" cy="69850"/>
              </a:xfrm>
              <a:custGeom>
                <a:avLst/>
                <a:gdLst>
                  <a:gd name="T0" fmla="*/ 0 w 19"/>
                  <a:gd name="T1" fmla="*/ 19 h 19"/>
                  <a:gd name="T2" fmla="*/ 19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19"/>
                    </a:moveTo>
                    <a:cubicBezTo>
                      <a:pt x="11" y="19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5" name="Freeform 341"/>
              <p:cNvSpPr>
                <a:spLocks/>
              </p:cNvSpPr>
              <p:nvPr userDrawn="1"/>
            </p:nvSpPr>
            <p:spPr bwMode="auto">
              <a:xfrm>
                <a:off x="768350" y="5233988"/>
                <a:ext cx="22225" cy="22225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cubicBezTo>
                      <a:pt x="4" y="6"/>
                      <a:pt x="6" y="3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6" name="Freeform 342"/>
              <p:cNvSpPr>
                <a:spLocks/>
              </p:cNvSpPr>
              <p:nvPr userDrawn="1"/>
            </p:nvSpPr>
            <p:spPr bwMode="auto">
              <a:xfrm>
                <a:off x="2706687" y="6205538"/>
                <a:ext cx="969963" cy="966788"/>
              </a:xfrm>
              <a:custGeom>
                <a:avLst/>
                <a:gdLst>
                  <a:gd name="T0" fmla="*/ 0 w 264"/>
                  <a:gd name="T1" fmla="*/ 0 h 263"/>
                  <a:gd name="T2" fmla="*/ 264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0" y="0"/>
                    </a:moveTo>
                    <a:cubicBezTo>
                      <a:pt x="0" y="145"/>
                      <a:pt x="118" y="263"/>
                      <a:pt x="264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7" name="Freeform 343"/>
              <p:cNvSpPr>
                <a:spLocks/>
              </p:cNvSpPr>
              <p:nvPr userDrawn="1"/>
            </p:nvSpPr>
            <p:spPr bwMode="auto">
              <a:xfrm>
                <a:off x="2754312" y="6205538"/>
                <a:ext cx="922338" cy="919163"/>
              </a:xfrm>
              <a:custGeom>
                <a:avLst/>
                <a:gdLst>
                  <a:gd name="T0" fmla="*/ 0 w 251"/>
                  <a:gd name="T1" fmla="*/ 0 h 250"/>
                  <a:gd name="T2" fmla="*/ 251 w 251"/>
                  <a:gd name="T3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0">
                    <a:moveTo>
                      <a:pt x="0" y="0"/>
                    </a:moveTo>
                    <a:cubicBezTo>
                      <a:pt x="0" y="138"/>
                      <a:pt x="113" y="250"/>
                      <a:pt x="251" y="25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8" name="Freeform 344"/>
              <p:cNvSpPr>
                <a:spLocks/>
              </p:cNvSpPr>
              <p:nvPr userDrawn="1"/>
            </p:nvSpPr>
            <p:spPr bwMode="auto">
              <a:xfrm>
                <a:off x="2801937" y="6205538"/>
                <a:ext cx="874713" cy="874713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1"/>
                      <a:pt x="107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09" name="Freeform 345"/>
              <p:cNvSpPr>
                <a:spLocks/>
              </p:cNvSpPr>
              <p:nvPr userDrawn="1"/>
            </p:nvSpPr>
            <p:spPr bwMode="auto">
              <a:xfrm>
                <a:off x="2849562" y="6205538"/>
                <a:ext cx="827088" cy="827088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4"/>
                      <a:pt x="101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0" name="Freeform 346"/>
              <p:cNvSpPr>
                <a:spLocks/>
              </p:cNvSpPr>
              <p:nvPr userDrawn="1"/>
            </p:nvSpPr>
            <p:spPr bwMode="auto">
              <a:xfrm>
                <a:off x="2897187" y="6205538"/>
                <a:ext cx="779463" cy="779463"/>
              </a:xfrm>
              <a:custGeom>
                <a:avLst/>
                <a:gdLst>
                  <a:gd name="T0" fmla="*/ 0 w 212"/>
                  <a:gd name="T1" fmla="*/ 0 h 212"/>
                  <a:gd name="T2" fmla="*/ 212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0"/>
                    </a:moveTo>
                    <a:cubicBezTo>
                      <a:pt x="0" y="117"/>
                      <a:pt x="95" y="212"/>
                      <a:pt x="212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1" name="Freeform 347"/>
              <p:cNvSpPr>
                <a:spLocks/>
              </p:cNvSpPr>
              <p:nvPr userDrawn="1"/>
            </p:nvSpPr>
            <p:spPr bwMode="auto">
              <a:xfrm>
                <a:off x="2944812" y="6205538"/>
                <a:ext cx="731838" cy="731838"/>
              </a:xfrm>
              <a:custGeom>
                <a:avLst/>
                <a:gdLst>
                  <a:gd name="T0" fmla="*/ 0 w 199"/>
                  <a:gd name="T1" fmla="*/ 0 h 199"/>
                  <a:gd name="T2" fmla="*/ 199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0"/>
                    </a:moveTo>
                    <a:cubicBezTo>
                      <a:pt x="0" y="110"/>
                      <a:pt x="89" y="199"/>
                      <a:pt x="199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2" name="Freeform 348"/>
              <p:cNvSpPr>
                <a:spLocks/>
              </p:cNvSpPr>
              <p:nvPr userDrawn="1"/>
            </p:nvSpPr>
            <p:spPr bwMode="auto">
              <a:xfrm>
                <a:off x="2992437" y="6205538"/>
                <a:ext cx="684213" cy="684213"/>
              </a:xfrm>
              <a:custGeom>
                <a:avLst/>
                <a:gdLst>
                  <a:gd name="T0" fmla="*/ 0 w 186"/>
                  <a:gd name="T1" fmla="*/ 0 h 186"/>
                  <a:gd name="T2" fmla="*/ 186 w 186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0" y="0"/>
                    </a:moveTo>
                    <a:cubicBezTo>
                      <a:pt x="0" y="103"/>
                      <a:pt x="83" y="186"/>
                      <a:pt x="186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3" name="Freeform 349"/>
              <p:cNvSpPr>
                <a:spLocks/>
              </p:cNvSpPr>
              <p:nvPr userDrawn="1"/>
            </p:nvSpPr>
            <p:spPr bwMode="auto">
              <a:xfrm>
                <a:off x="3040062" y="6205538"/>
                <a:ext cx="636588" cy="636588"/>
              </a:xfrm>
              <a:custGeom>
                <a:avLst/>
                <a:gdLst>
                  <a:gd name="T0" fmla="*/ 0 w 173"/>
                  <a:gd name="T1" fmla="*/ 0 h 173"/>
                  <a:gd name="T2" fmla="*/ 173 w 173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3">
                    <a:moveTo>
                      <a:pt x="0" y="0"/>
                    </a:moveTo>
                    <a:cubicBezTo>
                      <a:pt x="0" y="96"/>
                      <a:pt x="77" y="173"/>
                      <a:pt x="173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4" name="Freeform 350"/>
              <p:cNvSpPr>
                <a:spLocks/>
              </p:cNvSpPr>
              <p:nvPr userDrawn="1"/>
            </p:nvSpPr>
            <p:spPr bwMode="auto">
              <a:xfrm>
                <a:off x="3084512" y="6205538"/>
                <a:ext cx="592138" cy="588963"/>
              </a:xfrm>
              <a:custGeom>
                <a:avLst/>
                <a:gdLst>
                  <a:gd name="T0" fmla="*/ 0 w 161"/>
                  <a:gd name="T1" fmla="*/ 0 h 160"/>
                  <a:gd name="T2" fmla="*/ 161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0" y="0"/>
                    </a:moveTo>
                    <a:cubicBezTo>
                      <a:pt x="0" y="88"/>
                      <a:pt x="72" y="160"/>
                      <a:pt x="161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5" name="Freeform 351"/>
              <p:cNvSpPr>
                <a:spLocks/>
              </p:cNvSpPr>
              <p:nvPr userDrawn="1"/>
            </p:nvSpPr>
            <p:spPr bwMode="auto">
              <a:xfrm>
                <a:off x="3132137" y="6205538"/>
                <a:ext cx="544513" cy="544513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1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6" name="Freeform 352"/>
              <p:cNvSpPr>
                <a:spLocks/>
              </p:cNvSpPr>
              <p:nvPr userDrawn="1"/>
            </p:nvSpPr>
            <p:spPr bwMode="auto">
              <a:xfrm>
                <a:off x="3179762" y="6205538"/>
                <a:ext cx="496888" cy="496888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4"/>
                      <a:pt x="61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7" name="Freeform 353"/>
              <p:cNvSpPr>
                <a:spLocks/>
              </p:cNvSpPr>
              <p:nvPr userDrawn="1"/>
            </p:nvSpPr>
            <p:spPr bwMode="auto">
              <a:xfrm>
                <a:off x="3227387" y="6205538"/>
                <a:ext cx="449263" cy="447675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7"/>
                      <a:pt x="55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8" name="Freeform 354"/>
              <p:cNvSpPr>
                <a:spLocks/>
              </p:cNvSpPr>
              <p:nvPr userDrawn="1"/>
            </p:nvSpPr>
            <p:spPr bwMode="auto">
              <a:xfrm>
                <a:off x="3275012" y="6205538"/>
                <a:ext cx="401638" cy="400050"/>
              </a:xfrm>
              <a:custGeom>
                <a:avLst/>
                <a:gdLst>
                  <a:gd name="T0" fmla="*/ 0 w 109"/>
                  <a:gd name="T1" fmla="*/ 0 h 109"/>
                  <a:gd name="T2" fmla="*/ 109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0"/>
                    </a:moveTo>
                    <a:cubicBezTo>
                      <a:pt x="0" y="60"/>
                      <a:pt x="49" y="109"/>
                      <a:pt x="109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19" name="Freeform 355"/>
              <p:cNvSpPr>
                <a:spLocks/>
              </p:cNvSpPr>
              <p:nvPr userDrawn="1"/>
            </p:nvSpPr>
            <p:spPr bwMode="auto">
              <a:xfrm>
                <a:off x="3322637" y="6205538"/>
                <a:ext cx="354013" cy="352425"/>
              </a:xfrm>
              <a:custGeom>
                <a:avLst/>
                <a:gdLst>
                  <a:gd name="T0" fmla="*/ 0 w 96"/>
                  <a:gd name="T1" fmla="*/ 0 h 96"/>
                  <a:gd name="T2" fmla="*/ 96 w 96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0" y="0"/>
                    </a:moveTo>
                    <a:cubicBezTo>
                      <a:pt x="0" y="53"/>
                      <a:pt x="43" y="96"/>
                      <a:pt x="96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0" name="Freeform 356"/>
              <p:cNvSpPr>
                <a:spLocks/>
              </p:cNvSpPr>
              <p:nvPr userDrawn="1"/>
            </p:nvSpPr>
            <p:spPr bwMode="auto">
              <a:xfrm>
                <a:off x="3371850" y="6205538"/>
                <a:ext cx="304800" cy="304800"/>
              </a:xfrm>
              <a:custGeom>
                <a:avLst/>
                <a:gdLst>
                  <a:gd name="T0" fmla="*/ 0 w 83"/>
                  <a:gd name="T1" fmla="*/ 0 h 83"/>
                  <a:gd name="T2" fmla="*/ 83 w 83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3">
                    <a:moveTo>
                      <a:pt x="0" y="0"/>
                    </a:moveTo>
                    <a:cubicBezTo>
                      <a:pt x="0" y="46"/>
                      <a:pt x="37" y="83"/>
                      <a:pt x="83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1" name="Freeform 357"/>
              <p:cNvSpPr>
                <a:spLocks/>
              </p:cNvSpPr>
              <p:nvPr userDrawn="1"/>
            </p:nvSpPr>
            <p:spPr bwMode="auto">
              <a:xfrm>
                <a:off x="3414712" y="6205538"/>
                <a:ext cx="261938" cy="257175"/>
              </a:xfrm>
              <a:custGeom>
                <a:avLst/>
                <a:gdLst>
                  <a:gd name="T0" fmla="*/ 0 w 71"/>
                  <a:gd name="T1" fmla="*/ 0 h 70"/>
                  <a:gd name="T2" fmla="*/ 71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0" y="0"/>
                    </a:moveTo>
                    <a:cubicBezTo>
                      <a:pt x="0" y="39"/>
                      <a:pt x="32" y="70"/>
                      <a:pt x="71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2" name="Freeform 358"/>
              <p:cNvSpPr>
                <a:spLocks/>
              </p:cNvSpPr>
              <p:nvPr userDrawn="1"/>
            </p:nvSpPr>
            <p:spPr bwMode="auto">
              <a:xfrm>
                <a:off x="3462337" y="6205538"/>
                <a:ext cx="214313" cy="209550"/>
              </a:xfrm>
              <a:custGeom>
                <a:avLst/>
                <a:gdLst>
                  <a:gd name="T0" fmla="*/ 0 w 58"/>
                  <a:gd name="T1" fmla="*/ 0 h 57"/>
                  <a:gd name="T2" fmla="*/ 58 w 58"/>
                  <a:gd name="T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7">
                    <a:moveTo>
                      <a:pt x="0" y="0"/>
                    </a:moveTo>
                    <a:cubicBezTo>
                      <a:pt x="0" y="32"/>
                      <a:pt x="26" y="57"/>
                      <a:pt x="58" y="5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3" name="Freeform 359"/>
              <p:cNvSpPr>
                <a:spLocks/>
              </p:cNvSpPr>
              <p:nvPr userDrawn="1"/>
            </p:nvSpPr>
            <p:spPr bwMode="auto">
              <a:xfrm>
                <a:off x="3511550" y="62055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4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4" name="Freeform 360"/>
              <p:cNvSpPr>
                <a:spLocks/>
              </p:cNvSpPr>
              <p:nvPr userDrawn="1"/>
            </p:nvSpPr>
            <p:spPr bwMode="auto">
              <a:xfrm>
                <a:off x="3559175" y="62055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7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5" name="Freeform 361"/>
              <p:cNvSpPr>
                <a:spLocks/>
              </p:cNvSpPr>
              <p:nvPr userDrawn="1"/>
            </p:nvSpPr>
            <p:spPr bwMode="auto">
              <a:xfrm>
                <a:off x="3606800" y="6205538"/>
                <a:ext cx="69850" cy="69850"/>
              </a:xfrm>
              <a:custGeom>
                <a:avLst/>
                <a:gdLst>
                  <a:gd name="T0" fmla="*/ 0 w 19"/>
                  <a:gd name="T1" fmla="*/ 0 h 19"/>
                  <a:gd name="T2" fmla="*/ 19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0"/>
                    </a:moveTo>
                    <a:cubicBezTo>
                      <a:pt x="0" y="10"/>
                      <a:pt x="9" y="19"/>
                      <a:pt x="19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6" name="Freeform 362"/>
              <p:cNvSpPr>
                <a:spLocks/>
              </p:cNvSpPr>
              <p:nvPr userDrawn="1"/>
            </p:nvSpPr>
            <p:spPr bwMode="auto">
              <a:xfrm>
                <a:off x="3654425" y="6205538"/>
                <a:ext cx="22225" cy="22225"/>
              </a:xfrm>
              <a:custGeom>
                <a:avLst/>
                <a:gdLst>
                  <a:gd name="T0" fmla="*/ 0 w 6"/>
                  <a:gd name="T1" fmla="*/ 0 h 6"/>
                  <a:gd name="T2" fmla="*/ 6 w 6"/>
                  <a:gd name="T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0" y="3"/>
                      <a:pt x="3" y="6"/>
                      <a:pt x="6" y="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7" name="Freeform 363"/>
              <p:cNvSpPr>
                <a:spLocks/>
              </p:cNvSpPr>
              <p:nvPr userDrawn="1"/>
            </p:nvSpPr>
            <p:spPr bwMode="auto">
              <a:xfrm>
                <a:off x="3676650" y="6205538"/>
                <a:ext cx="969963" cy="966788"/>
              </a:xfrm>
              <a:custGeom>
                <a:avLst/>
                <a:gdLst>
                  <a:gd name="T0" fmla="*/ 264 w 264"/>
                  <a:gd name="T1" fmla="*/ 0 h 263"/>
                  <a:gd name="T2" fmla="*/ 0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264" y="0"/>
                    </a:moveTo>
                    <a:cubicBezTo>
                      <a:pt x="118" y="0"/>
                      <a:pt x="0" y="118"/>
                      <a:pt x="0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8" name="Freeform 364"/>
              <p:cNvSpPr>
                <a:spLocks/>
              </p:cNvSpPr>
              <p:nvPr userDrawn="1"/>
            </p:nvSpPr>
            <p:spPr bwMode="auto">
              <a:xfrm>
                <a:off x="3724275" y="6249988"/>
                <a:ext cx="922338" cy="922338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3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29" name="Freeform 365"/>
              <p:cNvSpPr>
                <a:spLocks/>
              </p:cNvSpPr>
              <p:nvPr userDrawn="1"/>
            </p:nvSpPr>
            <p:spPr bwMode="auto">
              <a:xfrm>
                <a:off x="3771900" y="6297613"/>
                <a:ext cx="874713" cy="874713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7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0" name="Freeform 366"/>
              <p:cNvSpPr>
                <a:spLocks/>
              </p:cNvSpPr>
              <p:nvPr userDrawn="1"/>
            </p:nvSpPr>
            <p:spPr bwMode="auto">
              <a:xfrm>
                <a:off x="3819525" y="6345238"/>
                <a:ext cx="827088" cy="827088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1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1" name="Freeform 367"/>
              <p:cNvSpPr>
                <a:spLocks/>
              </p:cNvSpPr>
              <p:nvPr userDrawn="1"/>
            </p:nvSpPr>
            <p:spPr bwMode="auto">
              <a:xfrm>
                <a:off x="3867150" y="6392863"/>
                <a:ext cx="779463" cy="779463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2" name="Freeform 368"/>
              <p:cNvSpPr>
                <a:spLocks/>
              </p:cNvSpPr>
              <p:nvPr userDrawn="1"/>
            </p:nvSpPr>
            <p:spPr bwMode="auto">
              <a:xfrm>
                <a:off x="3914775" y="6440488"/>
                <a:ext cx="731838" cy="731838"/>
              </a:xfrm>
              <a:custGeom>
                <a:avLst/>
                <a:gdLst>
                  <a:gd name="T0" fmla="*/ 199 w 199"/>
                  <a:gd name="T1" fmla="*/ 0 h 199"/>
                  <a:gd name="T2" fmla="*/ 0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0"/>
                    </a:moveTo>
                    <a:cubicBezTo>
                      <a:pt x="89" y="0"/>
                      <a:pt x="0" y="89"/>
                      <a:pt x="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3" name="Freeform 369"/>
              <p:cNvSpPr>
                <a:spLocks/>
              </p:cNvSpPr>
              <p:nvPr userDrawn="1"/>
            </p:nvSpPr>
            <p:spPr bwMode="auto">
              <a:xfrm>
                <a:off x="3959225" y="6488113"/>
                <a:ext cx="687388" cy="684213"/>
              </a:xfrm>
              <a:custGeom>
                <a:avLst/>
                <a:gdLst>
                  <a:gd name="T0" fmla="*/ 187 w 187"/>
                  <a:gd name="T1" fmla="*/ 0 h 186"/>
                  <a:gd name="T2" fmla="*/ 0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0"/>
                    </a:moveTo>
                    <a:cubicBezTo>
                      <a:pt x="84" y="0"/>
                      <a:pt x="0" y="83"/>
                      <a:pt x="0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4" name="Freeform 370"/>
              <p:cNvSpPr>
                <a:spLocks/>
              </p:cNvSpPr>
              <p:nvPr userDrawn="1"/>
            </p:nvSpPr>
            <p:spPr bwMode="auto">
              <a:xfrm>
                <a:off x="4006850" y="6535738"/>
                <a:ext cx="639763" cy="636588"/>
              </a:xfrm>
              <a:custGeom>
                <a:avLst/>
                <a:gdLst>
                  <a:gd name="T0" fmla="*/ 174 w 174"/>
                  <a:gd name="T1" fmla="*/ 0 h 173"/>
                  <a:gd name="T2" fmla="*/ 0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174" y="0"/>
                    </a:moveTo>
                    <a:cubicBezTo>
                      <a:pt x="78" y="0"/>
                      <a:pt x="0" y="77"/>
                      <a:pt x="0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5" name="Freeform 371"/>
              <p:cNvSpPr>
                <a:spLocks/>
              </p:cNvSpPr>
              <p:nvPr userDrawn="1"/>
            </p:nvSpPr>
            <p:spPr bwMode="auto">
              <a:xfrm>
                <a:off x="4054475" y="6583363"/>
                <a:ext cx="592138" cy="588963"/>
              </a:xfrm>
              <a:custGeom>
                <a:avLst/>
                <a:gdLst>
                  <a:gd name="T0" fmla="*/ 161 w 161"/>
                  <a:gd name="T1" fmla="*/ 0 h 160"/>
                  <a:gd name="T2" fmla="*/ 0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161" y="0"/>
                    </a:moveTo>
                    <a:cubicBezTo>
                      <a:pt x="72" y="0"/>
                      <a:pt x="0" y="71"/>
                      <a:pt x="0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6" name="Freeform 372"/>
              <p:cNvSpPr>
                <a:spLocks/>
              </p:cNvSpPr>
              <p:nvPr userDrawn="1"/>
            </p:nvSpPr>
            <p:spPr bwMode="auto">
              <a:xfrm>
                <a:off x="4102100" y="6627813"/>
                <a:ext cx="544513" cy="544513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7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7" name="Freeform 373"/>
              <p:cNvSpPr>
                <a:spLocks/>
              </p:cNvSpPr>
              <p:nvPr userDrawn="1"/>
            </p:nvSpPr>
            <p:spPr bwMode="auto">
              <a:xfrm>
                <a:off x="4149725" y="6675438"/>
                <a:ext cx="496888" cy="496888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1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8" name="Freeform 374"/>
              <p:cNvSpPr>
                <a:spLocks/>
              </p:cNvSpPr>
              <p:nvPr userDrawn="1"/>
            </p:nvSpPr>
            <p:spPr bwMode="auto">
              <a:xfrm>
                <a:off x="4197350" y="6723063"/>
                <a:ext cx="449263" cy="449263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5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39" name="Freeform 375"/>
              <p:cNvSpPr>
                <a:spLocks/>
              </p:cNvSpPr>
              <p:nvPr userDrawn="1"/>
            </p:nvSpPr>
            <p:spPr bwMode="auto">
              <a:xfrm>
                <a:off x="4246562" y="6772275"/>
                <a:ext cx="400050" cy="400050"/>
              </a:xfrm>
              <a:custGeom>
                <a:avLst/>
                <a:gdLst>
                  <a:gd name="T0" fmla="*/ 109 w 109"/>
                  <a:gd name="T1" fmla="*/ 0 h 109"/>
                  <a:gd name="T2" fmla="*/ 0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0"/>
                    </a:moveTo>
                    <a:cubicBezTo>
                      <a:pt x="49" y="0"/>
                      <a:pt x="0" y="49"/>
                      <a:pt x="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40" name="Freeform 376"/>
              <p:cNvSpPr>
                <a:spLocks/>
              </p:cNvSpPr>
              <p:nvPr userDrawn="1"/>
            </p:nvSpPr>
            <p:spPr bwMode="auto">
              <a:xfrm>
                <a:off x="4294187" y="6819900"/>
                <a:ext cx="352425" cy="352425"/>
              </a:xfrm>
              <a:custGeom>
                <a:avLst/>
                <a:gdLst>
                  <a:gd name="T0" fmla="*/ 96 w 96"/>
                  <a:gd name="T1" fmla="*/ 0 h 96"/>
                  <a:gd name="T2" fmla="*/ 0 w 96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96" y="0"/>
                    </a:moveTo>
                    <a:cubicBezTo>
                      <a:pt x="43" y="0"/>
                      <a:pt x="0" y="43"/>
                      <a:pt x="0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41" name="Freeform 377"/>
              <p:cNvSpPr>
                <a:spLocks/>
              </p:cNvSpPr>
              <p:nvPr userDrawn="1"/>
            </p:nvSpPr>
            <p:spPr bwMode="auto">
              <a:xfrm>
                <a:off x="4337050" y="6867525"/>
                <a:ext cx="309563" cy="304800"/>
              </a:xfrm>
              <a:custGeom>
                <a:avLst/>
                <a:gdLst>
                  <a:gd name="T0" fmla="*/ 84 w 84"/>
                  <a:gd name="T1" fmla="*/ 0 h 83"/>
                  <a:gd name="T2" fmla="*/ 0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84" y="0"/>
                    </a:moveTo>
                    <a:cubicBezTo>
                      <a:pt x="38" y="0"/>
                      <a:pt x="0" y="37"/>
                      <a:pt x="0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42" name="Freeform 378"/>
              <p:cNvSpPr>
                <a:spLocks/>
              </p:cNvSpPr>
              <p:nvPr userDrawn="1"/>
            </p:nvSpPr>
            <p:spPr bwMode="auto">
              <a:xfrm>
                <a:off x="4386262" y="6915150"/>
                <a:ext cx="260350" cy="257175"/>
              </a:xfrm>
              <a:custGeom>
                <a:avLst/>
                <a:gdLst>
                  <a:gd name="T0" fmla="*/ 71 w 71"/>
                  <a:gd name="T1" fmla="*/ 0 h 70"/>
                  <a:gd name="T2" fmla="*/ 0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71" y="0"/>
                    </a:moveTo>
                    <a:cubicBezTo>
                      <a:pt x="32" y="0"/>
                      <a:pt x="0" y="31"/>
                      <a:pt x="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48" name="Freeform 384"/>
              <p:cNvSpPr>
                <a:spLocks/>
              </p:cNvSpPr>
              <p:nvPr userDrawn="1"/>
            </p:nvSpPr>
            <p:spPr bwMode="auto">
              <a:xfrm>
                <a:off x="3676650" y="52339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49" name="Freeform 385"/>
              <p:cNvSpPr>
                <a:spLocks/>
              </p:cNvSpPr>
              <p:nvPr userDrawn="1"/>
            </p:nvSpPr>
            <p:spPr bwMode="auto">
              <a:xfrm>
                <a:off x="3676650" y="52816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0" name="Freeform 386"/>
              <p:cNvSpPr>
                <a:spLocks/>
              </p:cNvSpPr>
              <p:nvPr userDrawn="1"/>
            </p:nvSpPr>
            <p:spPr bwMode="auto">
              <a:xfrm>
                <a:off x="3676650" y="5329238"/>
                <a:ext cx="874713" cy="876300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6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1" name="Freeform 387"/>
              <p:cNvSpPr>
                <a:spLocks/>
              </p:cNvSpPr>
              <p:nvPr userDrawn="1"/>
            </p:nvSpPr>
            <p:spPr bwMode="auto">
              <a:xfrm>
                <a:off x="3676650" y="5373688"/>
                <a:ext cx="827088" cy="831850"/>
              </a:xfrm>
              <a:custGeom>
                <a:avLst/>
                <a:gdLst>
                  <a:gd name="T0" fmla="*/ 225 w 225"/>
                  <a:gd name="T1" fmla="*/ 226 h 226"/>
                  <a:gd name="T2" fmla="*/ 0 w 225"/>
                  <a:gd name="T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6">
                    <a:moveTo>
                      <a:pt x="225" y="226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2" name="Freeform 388"/>
              <p:cNvSpPr>
                <a:spLocks/>
              </p:cNvSpPr>
              <p:nvPr userDrawn="1"/>
            </p:nvSpPr>
            <p:spPr bwMode="auto">
              <a:xfrm>
                <a:off x="3676650" y="5421313"/>
                <a:ext cx="782638" cy="784225"/>
              </a:xfrm>
              <a:custGeom>
                <a:avLst/>
                <a:gdLst>
                  <a:gd name="T0" fmla="*/ 213 w 213"/>
                  <a:gd name="T1" fmla="*/ 213 h 213"/>
                  <a:gd name="T2" fmla="*/ 0 w 213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3">
                    <a:moveTo>
                      <a:pt x="213" y="213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3" name="Freeform 389"/>
              <p:cNvSpPr>
                <a:spLocks/>
              </p:cNvSpPr>
              <p:nvPr userDrawn="1"/>
            </p:nvSpPr>
            <p:spPr bwMode="auto">
              <a:xfrm>
                <a:off x="3676650" y="5468938"/>
                <a:ext cx="735013" cy="736600"/>
              </a:xfrm>
              <a:custGeom>
                <a:avLst/>
                <a:gdLst>
                  <a:gd name="T0" fmla="*/ 200 w 200"/>
                  <a:gd name="T1" fmla="*/ 200 h 200"/>
                  <a:gd name="T2" fmla="*/ 0 w 200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200" y="200"/>
                    </a:moveTo>
                    <a:cubicBezTo>
                      <a:pt x="200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4" name="Freeform 390"/>
              <p:cNvSpPr>
                <a:spLocks/>
              </p:cNvSpPr>
              <p:nvPr userDrawn="1"/>
            </p:nvSpPr>
            <p:spPr bwMode="auto">
              <a:xfrm>
                <a:off x="3676650" y="5516563"/>
                <a:ext cx="687388" cy="688975"/>
              </a:xfrm>
              <a:custGeom>
                <a:avLst/>
                <a:gdLst>
                  <a:gd name="T0" fmla="*/ 187 w 187"/>
                  <a:gd name="T1" fmla="*/ 187 h 187"/>
                  <a:gd name="T2" fmla="*/ 0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187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5" name="Freeform 391"/>
              <p:cNvSpPr>
                <a:spLocks/>
              </p:cNvSpPr>
              <p:nvPr userDrawn="1"/>
            </p:nvSpPr>
            <p:spPr bwMode="auto">
              <a:xfrm>
                <a:off x="3676650" y="5564188"/>
                <a:ext cx="639763" cy="641350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6" name="Freeform 392"/>
              <p:cNvSpPr>
                <a:spLocks/>
              </p:cNvSpPr>
              <p:nvPr userDrawn="1"/>
            </p:nvSpPr>
            <p:spPr bwMode="auto">
              <a:xfrm>
                <a:off x="3676650" y="5613400"/>
                <a:ext cx="590550" cy="592138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7" name="Freeform 393"/>
              <p:cNvSpPr>
                <a:spLocks/>
              </p:cNvSpPr>
              <p:nvPr userDrawn="1"/>
            </p:nvSpPr>
            <p:spPr bwMode="auto">
              <a:xfrm>
                <a:off x="3676650" y="5661025"/>
                <a:ext cx="542925" cy="544513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8" name="Freeform 394"/>
              <p:cNvSpPr>
                <a:spLocks/>
              </p:cNvSpPr>
              <p:nvPr userDrawn="1"/>
            </p:nvSpPr>
            <p:spPr bwMode="auto">
              <a:xfrm>
                <a:off x="3676650" y="5708650"/>
                <a:ext cx="495300" cy="496888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59" name="Freeform 395"/>
              <p:cNvSpPr>
                <a:spLocks/>
              </p:cNvSpPr>
              <p:nvPr userDrawn="1"/>
            </p:nvSpPr>
            <p:spPr bwMode="auto">
              <a:xfrm>
                <a:off x="3676650" y="5753100"/>
                <a:ext cx="447675" cy="452438"/>
              </a:xfrm>
              <a:custGeom>
                <a:avLst/>
                <a:gdLst>
                  <a:gd name="T0" fmla="*/ 122 w 122"/>
                  <a:gd name="T1" fmla="*/ 123 h 123"/>
                  <a:gd name="T2" fmla="*/ 0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122" y="123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0" name="Freeform 396"/>
              <p:cNvSpPr>
                <a:spLocks/>
              </p:cNvSpPr>
              <p:nvPr userDrawn="1"/>
            </p:nvSpPr>
            <p:spPr bwMode="auto">
              <a:xfrm>
                <a:off x="3676650" y="5800725"/>
                <a:ext cx="403225" cy="404813"/>
              </a:xfrm>
              <a:custGeom>
                <a:avLst/>
                <a:gdLst>
                  <a:gd name="T0" fmla="*/ 110 w 110"/>
                  <a:gd name="T1" fmla="*/ 110 h 110"/>
                  <a:gd name="T2" fmla="*/ 0 w 110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10">
                    <a:moveTo>
                      <a:pt x="110" y="110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1" name="Freeform 397"/>
              <p:cNvSpPr>
                <a:spLocks/>
              </p:cNvSpPr>
              <p:nvPr userDrawn="1"/>
            </p:nvSpPr>
            <p:spPr bwMode="auto">
              <a:xfrm>
                <a:off x="3676650" y="5848350"/>
                <a:ext cx="355600" cy="357188"/>
              </a:xfrm>
              <a:custGeom>
                <a:avLst/>
                <a:gdLst>
                  <a:gd name="T0" fmla="*/ 97 w 97"/>
                  <a:gd name="T1" fmla="*/ 97 h 97"/>
                  <a:gd name="T2" fmla="*/ 0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97" y="97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2" name="Freeform 398"/>
              <p:cNvSpPr>
                <a:spLocks/>
              </p:cNvSpPr>
              <p:nvPr userDrawn="1"/>
            </p:nvSpPr>
            <p:spPr bwMode="auto">
              <a:xfrm>
                <a:off x="3676650" y="5895975"/>
                <a:ext cx="307975" cy="309563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7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3" name="Freeform 399"/>
              <p:cNvSpPr>
                <a:spLocks/>
              </p:cNvSpPr>
              <p:nvPr userDrawn="1"/>
            </p:nvSpPr>
            <p:spPr bwMode="auto">
              <a:xfrm>
                <a:off x="3676650" y="5943600"/>
                <a:ext cx="260350" cy="261938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1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4" name="Freeform 400"/>
              <p:cNvSpPr>
                <a:spLocks/>
              </p:cNvSpPr>
              <p:nvPr userDrawn="1"/>
            </p:nvSpPr>
            <p:spPr bwMode="auto">
              <a:xfrm>
                <a:off x="3676650" y="5991225"/>
                <a:ext cx="212725" cy="214313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5" name="Freeform 401"/>
              <p:cNvSpPr>
                <a:spLocks/>
              </p:cNvSpPr>
              <p:nvPr userDrawn="1"/>
            </p:nvSpPr>
            <p:spPr bwMode="auto">
              <a:xfrm>
                <a:off x="3676650" y="6038850"/>
                <a:ext cx="165100" cy="166688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6" name="Freeform 402"/>
              <p:cNvSpPr>
                <a:spLocks/>
              </p:cNvSpPr>
              <p:nvPr userDrawn="1"/>
            </p:nvSpPr>
            <p:spPr bwMode="auto">
              <a:xfrm>
                <a:off x="3676650" y="6083300"/>
                <a:ext cx="117475" cy="122238"/>
              </a:xfrm>
              <a:custGeom>
                <a:avLst/>
                <a:gdLst>
                  <a:gd name="T0" fmla="*/ 32 w 32"/>
                  <a:gd name="T1" fmla="*/ 33 h 33"/>
                  <a:gd name="T2" fmla="*/ 0 w 32"/>
                  <a:gd name="T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3">
                    <a:moveTo>
                      <a:pt x="32" y="33"/>
                    </a:moveTo>
                    <a:cubicBezTo>
                      <a:pt x="32" y="15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7" name="Freeform 403"/>
              <p:cNvSpPr>
                <a:spLocks/>
              </p:cNvSpPr>
              <p:nvPr userDrawn="1"/>
            </p:nvSpPr>
            <p:spPr bwMode="auto">
              <a:xfrm>
                <a:off x="3676650" y="6130925"/>
                <a:ext cx="73025" cy="74613"/>
              </a:xfrm>
              <a:custGeom>
                <a:avLst/>
                <a:gdLst>
                  <a:gd name="T0" fmla="*/ 20 w 20"/>
                  <a:gd name="T1" fmla="*/ 20 h 20"/>
                  <a:gd name="T2" fmla="*/ 0 w 20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20">
                    <a:moveTo>
                      <a:pt x="20" y="20"/>
                    </a:moveTo>
                    <a:cubicBezTo>
                      <a:pt x="20" y="9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8" name="Freeform 404"/>
              <p:cNvSpPr>
                <a:spLocks/>
              </p:cNvSpPr>
              <p:nvPr userDrawn="1"/>
            </p:nvSpPr>
            <p:spPr bwMode="auto">
              <a:xfrm>
                <a:off x="3676650" y="6178550"/>
                <a:ext cx="25400" cy="26988"/>
              </a:xfrm>
              <a:custGeom>
                <a:avLst/>
                <a:gdLst>
                  <a:gd name="T0" fmla="*/ 7 w 7"/>
                  <a:gd name="T1" fmla="*/ 7 h 7"/>
                  <a:gd name="T2" fmla="*/ 0 w 7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7" y="7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969" name="Freeform 405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0" name="Freeform 407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1" name="Freeform 408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877888" cy="874712"/>
              </a:xfrm>
              <a:custGeom>
                <a:avLst/>
                <a:gdLst>
                  <a:gd name="T0" fmla="*/ 0 w 239"/>
                  <a:gd name="T1" fmla="*/ 238 h 238"/>
                  <a:gd name="T2" fmla="*/ 239 w 239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9" h="238">
                    <a:moveTo>
                      <a:pt x="0" y="238"/>
                    </a:moveTo>
                    <a:cubicBezTo>
                      <a:pt x="132" y="238"/>
                      <a:pt x="239" y="131"/>
                      <a:pt x="23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2" name="Freeform 409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830263" cy="827087"/>
              </a:xfrm>
              <a:custGeom>
                <a:avLst/>
                <a:gdLst>
                  <a:gd name="T0" fmla="*/ 0 w 226"/>
                  <a:gd name="T1" fmla="*/ 225 h 225"/>
                  <a:gd name="T2" fmla="*/ 226 w 226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6" h="225">
                    <a:moveTo>
                      <a:pt x="0" y="225"/>
                    </a:moveTo>
                    <a:cubicBezTo>
                      <a:pt x="125" y="225"/>
                      <a:pt x="226" y="124"/>
                      <a:pt x="22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3" name="Freeform 410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782638" cy="779462"/>
              </a:xfrm>
              <a:custGeom>
                <a:avLst/>
                <a:gdLst>
                  <a:gd name="T0" fmla="*/ 0 w 213"/>
                  <a:gd name="T1" fmla="*/ 212 h 212"/>
                  <a:gd name="T2" fmla="*/ 213 w 213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212"/>
                    </a:moveTo>
                    <a:cubicBezTo>
                      <a:pt x="118" y="212"/>
                      <a:pt x="213" y="117"/>
                      <a:pt x="21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4" name="Freeform 411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735013" cy="731837"/>
              </a:xfrm>
              <a:custGeom>
                <a:avLst/>
                <a:gdLst>
                  <a:gd name="T0" fmla="*/ 0 w 200"/>
                  <a:gd name="T1" fmla="*/ 199 h 199"/>
                  <a:gd name="T2" fmla="*/ 200 w 200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0" y="199"/>
                    </a:moveTo>
                    <a:cubicBezTo>
                      <a:pt x="111" y="199"/>
                      <a:pt x="200" y="110"/>
                      <a:pt x="20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5" name="Freeform 412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685800" cy="684212"/>
              </a:xfrm>
              <a:custGeom>
                <a:avLst/>
                <a:gdLst>
                  <a:gd name="T0" fmla="*/ 0 w 187"/>
                  <a:gd name="T1" fmla="*/ 186 h 186"/>
                  <a:gd name="T2" fmla="*/ 187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186"/>
                    </a:moveTo>
                    <a:cubicBezTo>
                      <a:pt x="104" y="186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6" name="Freeform 413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638175" cy="639762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7" name="Freeform 414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590550" cy="592137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8" name="Freeform 415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542925" cy="544512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79" name="Freeform 416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498475" cy="496887"/>
              </a:xfrm>
              <a:custGeom>
                <a:avLst/>
                <a:gdLst>
                  <a:gd name="T0" fmla="*/ 0 w 136"/>
                  <a:gd name="T1" fmla="*/ 135 h 135"/>
                  <a:gd name="T2" fmla="*/ 136 w 136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6" h="135">
                    <a:moveTo>
                      <a:pt x="0" y="135"/>
                    </a:moveTo>
                    <a:cubicBezTo>
                      <a:pt x="75" y="135"/>
                      <a:pt x="136" y="75"/>
                      <a:pt x="13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0" name="Freeform 417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450850" cy="449262"/>
              </a:xfrm>
              <a:custGeom>
                <a:avLst/>
                <a:gdLst>
                  <a:gd name="T0" fmla="*/ 0 w 123"/>
                  <a:gd name="T1" fmla="*/ 122 h 122"/>
                  <a:gd name="T2" fmla="*/ 123 w 123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3" h="122">
                    <a:moveTo>
                      <a:pt x="0" y="122"/>
                    </a:moveTo>
                    <a:cubicBezTo>
                      <a:pt x="68" y="122"/>
                      <a:pt x="123" y="67"/>
                      <a:pt x="12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1" name="Freeform 418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403225" cy="401637"/>
              </a:xfrm>
              <a:custGeom>
                <a:avLst/>
                <a:gdLst>
                  <a:gd name="T0" fmla="*/ 0 w 110"/>
                  <a:gd name="T1" fmla="*/ 109 h 109"/>
                  <a:gd name="T2" fmla="*/ 110 w 110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109"/>
                    </a:moveTo>
                    <a:cubicBezTo>
                      <a:pt x="61" y="109"/>
                      <a:pt x="110" y="60"/>
                      <a:pt x="11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2" name="Freeform 419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355600" cy="352425"/>
              </a:xfrm>
              <a:custGeom>
                <a:avLst/>
                <a:gdLst>
                  <a:gd name="T0" fmla="*/ 0 w 97"/>
                  <a:gd name="T1" fmla="*/ 96 h 96"/>
                  <a:gd name="T2" fmla="*/ 97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96"/>
                    </a:moveTo>
                    <a:cubicBezTo>
                      <a:pt x="54" y="96"/>
                      <a:pt x="97" y="53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3" name="Freeform 420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307975" cy="304800"/>
              </a:xfrm>
              <a:custGeom>
                <a:avLst/>
                <a:gdLst>
                  <a:gd name="T0" fmla="*/ 0 w 84"/>
                  <a:gd name="T1" fmla="*/ 83 h 83"/>
                  <a:gd name="T2" fmla="*/ 84 w 84"/>
                  <a:gd name="T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83"/>
                    </a:moveTo>
                    <a:cubicBezTo>
                      <a:pt x="47" y="83"/>
                      <a:pt x="84" y="46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4" name="Freeform 421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260350" cy="260350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40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5" name="Freeform 422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212725" cy="212725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6" name="Freeform 423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168275" cy="165100"/>
              </a:xfrm>
              <a:custGeom>
                <a:avLst/>
                <a:gdLst>
                  <a:gd name="T0" fmla="*/ 0 w 46"/>
                  <a:gd name="T1" fmla="*/ 45 h 45"/>
                  <a:gd name="T2" fmla="*/ 46 w 46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5">
                    <a:moveTo>
                      <a:pt x="0" y="45"/>
                    </a:moveTo>
                    <a:cubicBezTo>
                      <a:pt x="25" y="45"/>
                      <a:pt x="46" y="25"/>
                      <a:pt x="4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7" name="Freeform 424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120650" cy="117475"/>
              </a:xfrm>
              <a:custGeom>
                <a:avLst/>
                <a:gdLst>
                  <a:gd name="T0" fmla="*/ 0 w 33"/>
                  <a:gd name="T1" fmla="*/ 32 h 32"/>
                  <a:gd name="T2" fmla="*/ 33 w 33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3" h="32">
                    <a:moveTo>
                      <a:pt x="0" y="32"/>
                    </a:moveTo>
                    <a:cubicBezTo>
                      <a:pt x="18" y="32"/>
                      <a:pt x="33" y="18"/>
                      <a:pt x="3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8" name="Freeform 425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73025" cy="69850"/>
              </a:xfrm>
              <a:custGeom>
                <a:avLst/>
                <a:gdLst>
                  <a:gd name="T0" fmla="*/ 0 w 20"/>
                  <a:gd name="T1" fmla="*/ 19 h 19"/>
                  <a:gd name="T2" fmla="*/ 20 w 20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0" y="19"/>
                    </a:moveTo>
                    <a:cubicBezTo>
                      <a:pt x="11" y="19"/>
                      <a:pt x="20" y="11"/>
                      <a:pt x="2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89" name="Freeform 426"/>
              <p:cNvSpPr>
                <a:spLocks/>
              </p:cNvSpPr>
              <p:nvPr userDrawn="1"/>
            </p:nvSpPr>
            <p:spPr bwMode="auto">
              <a:xfrm>
                <a:off x="2706687" y="5233988"/>
                <a:ext cx="25400" cy="22225"/>
              </a:xfrm>
              <a:custGeom>
                <a:avLst/>
                <a:gdLst>
                  <a:gd name="T0" fmla="*/ 0 w 7"/>
                  <a:gd name="T1" fmla="*/ 6 h 6"/>
                  <a:gd name="T2" fmla="*/ 7 w 7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0" y="6"/>
                    </a:moveTo>
                    <a:cubicBezTo>
                      <a:pt x="4" y="6"/>
                      <a:pt x="7" y="3"/>
                      <a:pt x="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16" name="Freeform 553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17" name="Freeform 554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18" name="Freeform 555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874713" cy="876300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2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19" name="Freeform 556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827088" cy="828675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5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0" name="Freeform 557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779463" cy="784225"/>
              </a:xfrm>
              <a:custGeom>
                <a:avLst/>
                <a:gdLst>
                  <a:gd name="T0" fmla="*/ 0 w 212"/>
                  <a:gd name="T1" fmla="*/ 213 h 213"/>
                  <a:gd name="T2" fmla="*/ 212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0" y="213"/>
                    </a:moveTo>
                    <a:cubicBezTo>
                      <a:pt x="117" y="213"/>
                      <a:pt x="212" y="118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1" name="Freeform 558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731838" cy="736600"/>
              </a:xfrm>
              <a:custGeom>
                <a:avLst/>
                <a:gdLst>
                  <a:gd name="T0" fmla="*/ 0 w 199"/>
                  <a:gd name="T1" fmla="*/ 200 h 200"/>
                  <a:gd name="T2" fmla="*/ 199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200"/>
                    </a:moveTo>
                    <a:cubicBezTo>
                      <a:pt x="110" y="200"/>
                      <a:pt x="199" y="111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2" name="Freeform 559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687388" cy="688975"/>
              </a:xfrm>
              <a:custGeom>
                <a:avLst/>
                <a:gdLst>
                  <a:gd name="T0" fmla="*/ 0 w 187"/>
                  <a:gd name="T1" fmla="*/ 187 h 187"/>
                  <a:gd name="T2" fmla="*/ 187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187"/>
                    </a:moveTo>
                    <a:cubicBezTo>
                      <a:pt x="103" y="187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3" name="Freeform 560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639763" cy="641350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4" name="Freeform 561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592138" cy="592137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5" name="Freeform 562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544513" cy="544512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6" name="Freeform 563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496888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7" name="Freeform 564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449263" cy="452437"/>
              </a:xfrm>
              <a:custGeom>
                <a:avLst/>
                <a:gdLst>
                  <a:gd name="T0" fmla="*/ 0 w 122"/>
                  <a:gd name="T1" fmla="*/ 123 h 123"/>
                  <a:gd name="T2" fmla="*/ 122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0" y="123"/>
                    </a:moveTo>
                    <a:cubicBezTo>
                      <a:pt x="68" y="123"/>
                      <a:pt x="122" y="68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8" name="Freeform 565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401638" cy="404812"/>
              </a:xfrm>
              <a:custGeom>
                <a:avLst/>
                <a:gdLst>
                  <a:gd name="T0" fmla="*/ 0 w 109"/>
                  <a:gd name="T1" fmla="*/ 110 h 110"/>
                  <a:gd name="T2" fmla="*/ 109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0" y="110"/>
                    </a:moveTo>
                    <a:cubicBezTo>
                      <a:pt x="60" y="110"/>
                      <a:pt x="109" y="61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29" name="Freeform 566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357188" cy="357187"/>
              </a:xfrm>
              <a:custGeom>
                <a:avLst/>
                <a:gdLst>
                  <a:gd name="T0" fmla="*/ 0 w 97"/>
                  <a:gd name="T1" fmla="*/ 97 h 97"/>
                  <a:gd name="T2" fmla="*/ 97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97"/>
                    </a:moveTo>
                    <a:cubicBezTo>
                      <a:pt x="53" y="97"/>
                      <a:pt x="97" y="54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0" name="Freeform 567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309563" cy="309562"/>
              </a:xfrm>
              <a:custGeom>
                <a:avLst/>
                <a:gdLst>
                  <a:gd name="T0" fmla="*/ 0 w 84"/>
                  <a:gd name="T1" fmla="*/ 84 h 84"/>
                  <a:gd name="T2" fmla="*/ 84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84"/>
                    </a:moveTo>
                    <a:cubicBezTo>
                      <a:pt x="46" y="84"/>
                      <a:pt x="84" y="47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1" name="Freeform 568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261938" cy="261937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2" name="Freeform 569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214313" cy="214312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3" name="Freeform 570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165100" cy="166687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4" name="Freeform 571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5" name="Freeform 572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69850" cy="74612"/>
              </a:xfrm>
              <a:custGeom>
                <a:avLst/>
                <a:gdLst>
                  <a:gd name="T0" fmla="*/ 0 w 19"/>
                  <a:gd name="T1" fmla="*/ 20 h 20"/>
                  <a:gd name="T2" fmla="*/ 19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0" y="20"/>
                    </a:moveTo>
                    <a:cubicBezTo>
                      <a:pt x="11" y="20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6" name="Freeform 573"/>
              <p:cNvSpPr>
                <a:spLocks/>
              </p:cNvSpPr>
              <p:nvPr userDrawn="1"/>
            </p:nvSpPr>
            <p:spPr bwMode="auto">
              <a:xfrm>
                <a:off x="8523287" y="3290888"/>
                <a:ext cx="22225" cy="26987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4" y="7"/>
                      <a:pt x="6" y="4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7" name="Freeform 574"/>
              <p:cNvSpPr>
                <a:spLocks/>
              </p:cNvSpPr>
              <p:nvPr userDrawn="1"/>
            </p:nvSpPr>
            <p:spPr bwMode="auto">
              <a:xfrm>
                <a:off x="8523287" y="4262438"/>
                <a:ext cx="969963" cy="971550"/>
              </a:xfrm>
              <a:custGeom>
                <a:avLst/>
                <a:gdLst>
                  <a:gd name="T0" fmla="*/ 0 w 264"/>
                  <a:gd name="T1" fmla="*/ 0 h 264"/>
                  <a:gd name="T2" fmla="*/ 264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0"/>
                    </a:moveTo>
                    <a:cubicBezTo>
                      <a:pt x="0" y="146"/>
                      <a:pt x="118" y="264"/>
                      <a:pt x="264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8" name="Freeform 575"/>
              <p:cNvSpPr>
                <a:spLocks/>
              </p:cNvSpPr>
              <p:nvPr userDrawn="1"/>
            </p:nvSpPr>
            <p:spPr bwMode="auto">
              <a:xfrm>
                <a:off x="8570912" y="4262438"/>
                <a:ext cx="922338" cy="923925"/>
              </a:xfrm>
              <a:custGeom>
                <a:avLst/>
                <a:gdLst>
                  <a:gd name="T0" fmla="*/ 0 w 251"/>
                  <a:gd name="T1" fmla="*/ 0 h 251"/>
                  <a:gd name="T2" fmla="*/ 251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0"/>
                    </a:moveTo>
                    <a:cubicBezTo>
                      <a:pt x="0" y="139"/>
                      <a:pt x="112" y="251"/>
                      <a:pt x="251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39" name="Freeform 576"/>
              <p:cNvSpPr>
                <a:spLocks/>
              </p:cNvSpPr>
              <p:nvPr userDrawn="1"/>
            </p:nvSpPr>
            <p:spPr bwMode="auto">
              <a:xfrm>
                <a:off x="8620125" y="4262438"/>
                <a:ext cx="873125" cy="876300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2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0" name="Freeform 577"/>
              <p:cNvSpPr>
                <a:spLocks/>
              </p:cNvSpPr>
              <p:nvPr userDrawn="1"/>
            </p:nvSpPr>
            <p:spPr bwMode="auto">
              <a:xfrm>
                <a:off x="8667750" y="4262438"/>
                <a:ext cx="825500" cy="828675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5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1" name="Freeform 578"/>
              <p:cNvSpPr>
                <a:spLocks/>
              </p:cNvSpPr>
              <p:nvPr userDrawn="1"/>
            </p:nvSpPr>
            <p:spPr bwMode="auto">
              <a:xfrm>
                <a:off x="8710612" y="4262438"/>
                <a:ext cx="782638" cy="779462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2" name="Freeform 579"/>
              <p:cNvSpPr>
                <a:spLocks/>
              </p:cNvSpPr>
              <p:nvPr userDrawn="1"/>
            </p:nvSpPr>
            <p:spPr bwMode="auto">
              <a:xfrm>
                <a:off x="8758237" y="4262438"/>
                <a:ext cx="735013" cy="736600"/>
              </a:xfrm>
              <a:custGeom>
                <a:avLst/>
                <a:gdLst>
                  <a:gd name="T0" fmla="*/ 0 w 200"/>
                  <a:gd name="T1" fmla="*/ 0 h 200"/>
                  <a:gd name="T2" fmla="*/ 200 w 200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0" y="0"/>
                    </a:moveTo>
                    <a:cubicBezTo>
                      <a:pt x="0" y="110"/>
                      <a:pt x="90" y="200"/>
                      <a:pt x="20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3" name="Freeform 580"/>
              <p:cNvSpPr>
                <a:spLocks/>
              </p:cNvSpPr>
              <p:nvPr userDrawn="1"/>
            </p:nvSpPr>
            <p:spPr bwMode="auto">
              <a:xfrm>
                <a:off x="8807450" y="4262438"/>
                <a:ext cx="685800" cy="687387"/>
              </a:xfrm>
              <a:custGeom>
                <a:avLst/>
                <a:gdLst>
                  <a:gd name="T0" fmla="*/ 0 w 187"/>
                  <a:gd name="T1" fmla="*/ 0 h 187"/>
                  <a:gd name="T2" fmla="*/ 187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0"/>
                    </a:moveTo>
                    <a:cubicBezTo>
                      <a:pt x="0" y="103"/>
                      <a:pt x="84" y="187"/>
                      <a:pt x="187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4" name="Freeform 581"/>
              <p:cNvSpPr>
                <a:spLocks/>
              </p:cNvSpPr>
              <p:nvPr userDrawn="1"/>
            </p:nvSpPr>
            <p:spPr bwMode="auto">
              <a:xfrm>
                <a:off x="8855075" y="4262438"/>
                <a:ext cx="638175" cy="639762"/>
              </a:xfrm>
              <a:custGeom>
                <a:avLst/>
                <a:gdLst>
                  <a:gd name="T0" fmla="*/ 0 w 174"/>
                  <a:gd name="T1" fmla="*/ 0 h 174"/>
                  <a:gd name="T2" fmla="*/ 174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0"/>
                    </a:moveTo>
                    <a:cubicBezTo>
                      <a:pt x="0" y="96"/>
                      <a:pt x="78" y="174"/>
                      <a:pt x="174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5" name="Freeform 582"/>
              <p:cNvSpPr>
                <a:spLocks/>
              </p:cNvSpPr>
              <p:nvPr userDrawn="1"/>
            </p:nvSpPr>
            <p:spPr bwMode="auto">
              <a:xfrm>
                <a:off x="8902700" y="4262438"/>
                <a:ext cx="590550" cy="592137"/>
              </a:xfrm>
              <a:custGeom>
                <a:avLst/>
                <a:gdLst>
                  <a:gd name="T0" fmla="*/ 0 w 161"/>
                  <a:gd name="T1" fmla="*/ 0 h 161"/>
                  <a:gd name="T2" fmla="*/ 161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0"/>
                    </a:moveTo>
                    <a:cubicBezTo>
                      <a:pt x="0" y="89"/>
                      <a:pt x="72" y="161"/>
                      <a:pt x="161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6" name="Freeform 583"/>
              <p:cNvSpPr>
                <a:spLocks/>
              </p:cNvSpPr>
              <p:nvPr userDrawn="1"/>
            </p:nvSpPr>
            <p:spPr bwMode="auto">
              <a:xfrm>
                <a:off x="8950325" y="4262438"/>
                <a:ext cx="542925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2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7" name="Freeform 584"/>
              <p:cNvSpPr>
                <a:spLocks/>
              </p:cNvSpPr>
              <p:nvPr userDrawn="1"/>
            </p:nvSpPr>
            <p:spPr bwMode="auto">
              <a:xfrm>
                <a:off x="8997950" y="42624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5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8" name="Freeform 585"/>
              <p:cNvSpPr>
                <a:spLocks/>
              </p:cNvSpPr>
              <p:nvPr userDrawn="1"/>
            </p:nvSpPr>
            <p:spPr bwMode="auto">
              <a:xfrm>
                <a:off x="9045575" y="4262438"/>
                <a:ext cx="447675" cy="449262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8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49" name="Freeform 586"/>
              <p:cNvSpPr>
                <a:spLocks/>
              </p:cNvSpPr>
              <p:nvPr userDrawn="1"/>
            </p:nvSpPr>
            <p:spPr bwMode="auto">
              <a:xfrm>
                <a:off x="9090025" y="4262438"/>
                <a:ext cx="403225" cy="401637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1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50" name="Freeform 587"/>
              <p:cNvSpPr>
                <a:spLocks/>
              </p:cNvSpPr>
              <p:nvPr userDrawn="1"/>
            </p:nvSpPr>
            <p:spPr bwMode="auto">
              <a:xfrm>
                <a:off x="9137650" y="4262438"/>
                <a:ext cx="355600" cy="357187"/>
              </a:xfrm>
              <a:custGeom>
                <a:avLst/>
                <a:gdLst>
                  <a:gd name="T0" fmla="*/ 0 w 97"/>
                  <a:gd name="T1" fmla="*/ 0 h 97"/>
                  <a:gd name="T2" fmla="*/ 97 w 97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0"/>
                    </a:moveTo>
                    <a:cubicBezTo>
                      <a:pt x="0" y="53"/>
                      <a:pt x="43" y="97"/>
                      <a:pt x="97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51" name="Freeform 588"/>
              <p:cNvSpPr>
                <a:spLocks/>
              </p:cNvSpPr>
              <p:nvPr userDrawn="1"/>
            </p:nvSpPr>
            <p:spPr bwMode="auto">
              <a:xfrm>
                <a:off x="9185275" y="4262438"/>
                <a:ext cx="307975" cy="309562"/>
              </a:xfrm>
              <a:custGeom>
                <a:avLst/>
                <a:gdLst>
                  <a:gd name="T0" fmla="*/ 0 w 84"/>
                  <a:gd name="T1" fmla="*/ 0 h 84"/>
                  <a:gd name="T2" fmla="*/ 84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0"/>
                    </a:moveTo>
                    <a:cubicBezTo>
                      <a:pt x="0" y="46"/>
                      <a:pt x="38" y="84"/>
                      <a:pt x="84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752" name="Freeform 589"/>
              <p:cNvSpPr>
                <a:spLocks/>
              </p:cNvSpPr>
              <p:nvPr userDrawn="1"/>
            </p:nvSpPr>
            <p:spPr bwMode="auto">
              <a:xfrm>
                <a:off x="9232900" y="4262438"/>
                <a:ext cx="260350" cy="261937"/>
              </a:xfrm>
              <a:custGeom>
                <a:avLst/>
                <a:gdLst>
                  <a:gd name="T0" fmla="*/ 0 w 71"/>
                  <a:gd name="T1" fmla="*/ 0 h 71"/>
                  <a:gd name="T2" fmla="*/ 71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0" y="39"/>
                      <a:pt x="32" y="71"/>
                      <a:pt x="71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79" name="Freeform 617"/>
              <p:cNvSpPr>
                <a:spLocks/>
              </p:cNvSpPr>
              <p:nvPr userDrawn="1"/>
            </p:nvSpPr>
            <p:spPr bwMode="auto">
              <a:xfrm>
                <a:off x="7553325" y="32908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0" name="Freeform 618"/>
              <p:cNvSpPr>
                <a:spLocks/>
              </p:cNvSpPr>
              <p:nvPr userDrawn="1"/>
            </p:nvSpPr>
            <p:spPr bwMode="auto">
              <a:xfrm>
                <a:off x="7553325" y="33385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1" name="Freeform 619"/>
              <p:cNvSpPr>
                <a:spLocks/>
              </p:cNvSpPr>
              <p:nvPr userDrawn="1"/>
            </p:nvSpPr>
            <p:spPr bwMode="auto">
              <a:xfrm>
                <a:off x="7553325" y="3387725"/>
                <a:ext cx="874713" cy="874712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7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2" name="Freeform 620"/>
              <p:cNvSpPr>
                <a:spLocks/>
              </p:cNvSpPr>
              <p:nvPr userDrawn="1"/>
            </p:nvSpPr>
            <p:spPr bwMode="auto">
              <a:xfrm>
                <a:off x="7553325" y="3435350"/>
                <a:ext cx="827088" cy="827087"/>
              </a:xfrm>
              <a:custGeom>
                <a:avLst/>
                <a:gdLst>
                  <a:gd name="T0" fmla="*/ 225 w 225"/>
                  <a:gd name="T1" fmla="*/ 225 h 225"/>
                  <a:gd name="T2" fmla="*/ 0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225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3" name="Freeform 621"/>
              <p:cNvSpPr>
                <a:spLocks/>
              </p:cNvSpPr>
              <p:nvPr userDrawn="1"/>
            </p:nvSpPr>
            <p:spPr bwMode="auto">
              <a:xfrm>
                <a:off x="7553325" y="3482975"/>
                <a:ext cx="782638" cy="779462"/>
              </a:xfrm>
              <a:custGeom>
                <a:avLst/>
                <a:gdLst>
                  <a:gd name="T0" fmla="*/ 213 w 213"/>
                  <a:gd name="T1" fmla="*/ 212 h 212"/>
                  <a:gd name="T2" fmla="*/ 0 w 213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213" y="212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4" name="Freeform 622"/>
              <p:cNvSpPr>
                <a:spLocks/>
              </p:cNvSpPr>
              <p:nvPr userDrawn="1"/>
            </p:nvSpPr>
            <p:spPr bwMode="auto">
              <a:xfrm>
                <a:off x="7553325" y="3530600"/>
                <a:ext cx="735013" cy="731837"/>
              </a:xfrm>
              <a:custGeom>
                <a:avLst/>
                <a:gdLst>
                  <a:gd name="T0" fmla="*/ 200 w 200"/>
                  <a:gd name="T1" fmla="*/ 199 h 199"/>
                  <a:gd name="T2" fmla="*/ 0 w 200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200" y="199"/>
                    </a:moveTo>
                    <a:cubicBezTo>
                      <a:pt x="200" y="89"/>
                      <a:pt x="1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5" name="Freeform 623"/>
              <p:cNvSpPr>
                <a:spLocks/>
              </p:cNvSpPr>
              <p:nvPr userDrawn="1"/>
            </p:nvSpPr>
            <p:spPr bwMode="auto">
              <a:xfrm>
                <a:off x="7553325" y="3578225"/>
                <a:ext cx="687388" cy="684212"/>
              </a:xfrm>
              <a:custGeom>
                <a:avLst/>
                <a:gdLst>
                  <a:gd name="T0" fmla="*/ 187 w 187"/>
                  <a:gd name="T1" fmla="*/ 186 h 186"/>
                  <a:gd name="T2" fmla="*/ 0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186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6" name="Freeform 624"/>
              <p:cNvSpPr>
                <a:spLocks/>
              </p:cNvSpPr>
              <p:nvPr userDrawn="1"/>
            </p:nvSpPr>
            <p:spPr bwMode="auto">
              <a:xfrm>
                <a:off x="7553325" y="3622675"/>
                <a:ext cx="639763" cy="639762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7" name="Freeform 625"/>
              <p:cNvSpPr>
                <a:spLocks/>
              </p:cNvSpPr>
              <p:nvPr userDrawn="1"/>
            </p:nvSpPr>
            <p:spPr bwMode="auto">
              <a:xfrm>
                <a:off x="7553325" y="3670300"/>
                <a:ext cx="592138" cy="592137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8" name="Freeform 626"/>
              <p:cNvSpPr>
                <a:spLocks/>
              </p:cNvSpPr>
              <p:nvPr userDrawn="1"/>
            </p:nvSpPr>
            <p:spPr bwMode="auto">
              <a:xfrm>
                <a:off x="7553325" y="3717925"/>
                <a:ext cx="544513" cy="544512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9" name="Freeform 627"/>
              <p:cNvSpPr>
                <a:spLocks/>
              </p:cNvSpPr>
              <p:nvPr userDrawn="1"/>
            </p:nvSpPr>
            <p:spPr bwMode="auto">
              <a:xfrm>
                <a:off x="7553325" y="3765550"/>
                <a:ext cx="496888" cy="496887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0" name="Freeform 628"/>
              <p:cNvSpPr>
                <a:spLocks/>
              </p:cNvSpPr>
              <p:nvPr userDrawn="1"/>
            </p:nvSpPr>
            <p:spPr bwMode="auto">
              <a:xfrm>
                <a:off x="7553325" y="3813175"/>
                <a:ext cx="449263" cy="449262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1" name="Freeform 629"/>
              <p:cNvSpPr>
                <a:spLocks/>
              </p:cNvSpPr>
              <p:nvPr userDrawn="1"/>
            </p:nvSpPr>
            <p:spPr bwMode="auto">
              <a:xfrm>
                <a:off x="7553325" y="3862388"/>
                <a:ext cx="404813" cy="400050"/>
              </a:xfrm>
              <a:custGeom>
                <a:avLst/>
                <a:gdLst>
                  <a:gd name="T0" fmla="*/ 110 w 110"/>
                  <a:gd name="T1" fmla="*/ 109 h 109"/>
                  <a:gd name="T2" fmla="*/ 0 w 110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110" y="109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2" name="Freeform 630"/>
              <p:cNvSpPr>
                <a:spLocks/>
              </p:cNvSpPr>
              <p:nvPr userDrawn="1"/>
            </p:nvSpPr>
            <p:spPr bwMode="auto">
              <a:xfrm>
                <a:off x="7553325" y="3910013"/>
                <a:ext cx="357188" cy="352425"/>
              </a:xfrm>
              <a:custGeom>
                <a:avLst/>
                <a:gdLst>
                  <a:gd name="T0" fmla="*/ 97 w 97"/>
                  <a:gd name="T1" fmla="*/ 96 h 96"/>
                  <a:gd name="T2" fmla="*/ 0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97" y="96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3" name="Freeform 631"/>
              <p:cNvSpPr>
                <a:spLocks/>
              </p:cNvSpPr>
              <p:nvPr userDrawn="1"/>
            </p:nvSpPr>
            <p:spPr bwMode="auto">
              <a:xfrm>
                <a:off x="7553325" y="3952875"/>
                <a:ext cx="309563" cy="309562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8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4" name="Freeform 632"/>
              <p:cNvSpPr>
                <a:spLocks/>
              </p:cNvSpPr>
              <p:nvPr userDrawn="1"/>
            </p:nvSpPr>
            <p:spPr bwMode="auto">
              <a:xfrm>
                <a:off x="7553325" y="4002088"/>
                <a:ext cx="261938" cy="260350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2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5" name="Freeform 633"/>
              <p:cNvSpPr>
                <a:spLocks/>
              </p:cNvSpPr>
              <p:nvPr userDrawn="1"/>
            </p:nvSpPr>
            <p:spPr bwMode="auto">
              <a:xfrm>
                <a:off x="7553325" y="4049713"/>
                <a:ext cx="212725" cy="212725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6" name="Freeform 634"/>
              <p:cNvSpPr>
                <a:spLocks/>
              </p:cNvSpPr>
              <p:nvPr userDrawn="1"/>
            </p:nvSpPr>
            <p:spPr bwMode="auto">
              <a:xfrm>
                <a:off x="7553325" y="4097338"/>
                <a:ext cx="165100" cy="165100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7" name="Freeform 635"/>
              <p:cNvSpPr>
                <a:spLocks/>
              </p:cNvSpPr>
              <p:nvPr userDrawn="1"/>
            </p:nvSpPr>
            <p:spPr bwMode="auto">
              <a:xfrm>
                <a:off x="7553325" y="4144963"/>
                <a:ext cx="117475" cy="117475"/>
              </a:xfrm>
              <a:custGeom>
                <a:avLst/>
                <a:gdLst>
                  <a:gd name="T0" fmla="*/ 32 w 32"/>
                  <a:gd name="T1" fmla="*/ 32 h 32"/>
                  <a:gd name="T2" fmla="*/ 0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32"/>
                    </a:moveTo>
                    <a:cubicBezTo>
                      <a:pt x="32" y="14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8" name="Freeform 636"/>
              <p:cNvSpPr>
                <a:spLocks/>
              </p:cNvSpPr>
              <p:nvPr userDrawn="1"/>
            </p:nvSpPr>
            <p:spPr bwMode="auto">
              <a:xfrm>
                <a:off x="7553325" y="4192588"/>
                <a:ext cx="73025" cy="69850"/>
              </a:xfrm>
              <a:custGeom>
                <a:avLst/>
                <a:gdLst>
                  <a:gd name="T0" fmla="*/ 20 w 20"/>
                  <a:gd name="T1" fmla="*/ 19 h 19"/>
                  <a:gd name="T2" fmla="*/ 0 w 20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20" y="19"/>
                    </a:moveTo>
                    <a:cubicBezTo>
                      <a:pt x="20" y="8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9" name="Freeform 637"/>
              <p:cNvSpPr>
                <a:spLocks/>
              </p:cNvSpPr>
              <p:nvPr userDrawn="1"/>
            </p:nvSpPr>
            <p:spPr bwMode="auto">
              <a:xfrm>
                <a:off x="7553325" y="4240213"/>
                <a:ext cx="25400" cy="22225"/>
              </a:xfrm>
              <a:custGeom>
                <a:avLst/>
                <a:gdLst>
                  <a:gd name="T0" fmla="*/ 7 w 7"/>
                  <a:gd name="T1" fmla="*/ 6 h 6"/>
                  <a:gd name="T2" fmla="*/ 0 w 7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0" name="Freeform 638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966788" cy="971550"/>
              </a:xfrm>
              <a:custGeom>
                <a:avLst/>
                <a:gdLst>
                  <a:gd name="T0" fmla="*/ 0 w 263"/>
                  <a:gd name="T1" fmla="*/ 264 h 264"/>
                  <a:gd name="T2" fmla="*/ 263 w 263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0" y="264"/>
                    </a:moveTo>
                    <a:cubicBezTo>
                      <a:pt x="145" y="264"/>
                      <a:pt x="263" y="146"/>
                      <a:pt x="26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1" name="Freeform 639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919163" cy="923925"/>
              </a:xfrm>
              <a:custGeom>
                <a:avLst/>
                <a:gdLst>
                  <a:gd name="T0" fmla="*/ 0 w 250"/>
                  <a:gd name="T1" fmla="*/ 251 h 251"/>
                  <a:gd name="T2" fmla="*/ 250 w 250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0" h="251">
                    <a:moveTo>
                      <a:pt x="0" y="251"/>
                    </a:moveTo>
                    <a:cubicBezTo>
                      <a:pt x="138" y="251"/>
                      <a:pt x="250" y="139"/>
                      <a:pt x="25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2" name="Freeform 640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874713" cy="876300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1" y="238"/>
                      <a:pt x="238" y="132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3" name="Freeform 641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827088" cy="828675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5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4" name="Freeform 642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779463" cy="784225"/>
              </a:xfrm>
              <a:custGeom>
                <a:avLst/>
                <a:gdLst>
                  <a:gd name="T0" fmla="*/ 0 w 212"/>
                  <a:gd name="T1" fmla="*/ 213 h 213"/>
                  <a:gd name="T2" fmla="*/ 212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0" y="213"/>
                    </a:moveTo>
                    <a:cubicBezTo>
                      <a:pt x="117" y="213"/>
                      <a:pt x="212" y="118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5" name="Freeform 643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731838" cy="736600"/>
              </a:xfrm>
              <a:custGeom>
                <a:avLst/>
                <a:gdLst>
                  <a:gd name="T0" fmla="*/ 0 w 199"/>
                  <a:gd name="T1" fmla="*/ 200 h 200"/>
                  <a:gd name="T2" fmla="*/ 199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200"/>
                    </a:moveTo>
                    <a:cubicBezTo>
                      <a:pt x="110" y="200"/>
                      <a:pt x="199" y="111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6" name="Freeform 644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684213" cy="688975"/>
              </a:xfrm>
              <a:custGeom>
                <a:avLst/>
                <a:gdLst>
                  <a:gd name="T0" fmla="*/ 0 w 186"/>
                  <a:gd name="T1" fmla="*/ 187 h 187"/>
                  <a:gd name="T2" fmla="*/ 186 w 186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0" y="187"/>
                    </a:moveTo>
                    <a:cubicBezTo>
                      <a:pt x="103" y="187"/>
                      <a:pt x="186" y="103"/>
                      <a:pt x="18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7" name="Freeform 645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636588" cy="641350"/>
              </a:xfrm>
              <a:custGeom>
                <a:avLst/>
                <a:gdLst>
                  <a:gd name="T0" fmla="*/ 0 w 173"/>
                  <a:gd name="T1" fmla="*/ 174 h 174"/>
                  <a:gd name="T2" fmla="*/ 173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0" y="174"/>
                    </a:moveTo>
                    <a:cubicBezTo>
                      <a:pt x="96" y="174"/>
                      <a:pt x="173" y="96"/>
                      <a:pt x="17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8" name="Freeform 646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588963" cy="592137"/>
              </a:xfrm>
              <a:custGeom>
                <a:avLst/>
                <a:gdLst>
                  <a:gd name="T0" fmla="*/ 0 w 160"/>
                  <a:gd name="T1" fmla="*/ 161 h 161"/>
                  <a:gd name="T2" fmla="*/ 160 w 160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0" h="161">
                    <a:moveTo>
                      <a:pt x="0" y="161"/>
                    </a:moveTo>
                    <a:cubicBezTo>
                      <a:pt x="88" y="161"/>
                      <a:pt x="160" y="89"/>
                      <a:pt x="16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9" name="Freeform 647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541338" cy="544512"/>
              </a:xfrm>
              <a:custGeom>
                <a:avLst/>
                <a:gdLst>
                  <a:gd name="T0" fmla="*/ 0 w 147"/>
                  <a:gd name="T1" fmla="*/ 148 h 148"/>
                  <a:gd name="T2" fmla="*/ 147 w 147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7" h="148">
                    <a:moveTo>
                      <a:pt x="0" y="148"/>
                    </a:moveTo>
                    <a:cubicBezTo>
                      <a:pt x="81" y="148"/>
                      <a:pt x="147" y="82"/>
                      <a:pt x="14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0" name="Freeform 648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496888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4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1" name="Freeform 649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449263" cy="452437"/>
              </a:xfrm>
              <a:custGeom>
                <a:avLst/>
                <a:gdLst>
                  <a:gd name="T0" fmla="*/ 0 w 122"/>
                  <a:gd name="T1" fmla="*/ 123 h 123"/>
                  <a:gd name="T2" fmla="*/ 122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0" y="123"/>
                    </a:moveTo>
                    <a:cubicBezTo>
                      <a:pt x="67" y="123"/>
                      <a:pt x="122" y="68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2" name="Freeform 650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401638" cy="404812"/>
              </a:xfrm>
              <a:custGeom>
                <a:avLst/>
                <a:gdLst>
                  <a:gd name="T0" fmla="*/ 0 w 109"/>
                  <a:gd name="T1" fmla="*/ 110 h 110"/>
                  <a:gd name="T2" fmla="*/ 109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0" y="110"/>
                    </a:moveTo>
                    <a:cubicBezTo>
                      <a:pt x="60" y="110"/>
                      <a:pt x="109" y="61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3" name="Freeform 651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354013" cy="357187"/>
              </a:xfrm>
              <a:custGeom>
                <a:avLst/>
                <a:gdLst>
                  <a:gd name="T0" fmla="*/ 0 w 96"/>
                  <a:gd name="T1" fmla="*/ 97 h 97"/>
                  <a:gd name="T2" fmla="*/ 96 w 96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0" y="97"/>
                    </a:moveTo>
                    <a:cubicBezTo>
                      <a:pt x="53" y="97"/>
                      <a:pt x="96" y="54"/>
                      <a:pt x="9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4" name="Freeform 652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304800" cy="309562"/>
              </a:xfrm>
              <a:custGeom>
                <a:avLst/>
                <a:gdLst>
                  <a:gd name="T0" fmla="*/ 0 w 83"/>
                  <a:gd name="T1" fmla="*/ 84 h 84"/>
                  <a:gd name="T2" fmla="*/ 83 w 83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0" y="84"/>
                    </a:moveTo>
                    <a:cubicBezTo>
                      <a:pt x="46" y="84"/>
                      <a:pt x="83" y="47"/>
                      <a:pt x="8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5" name="Freeform 653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257175" cy="261937"/>
              </a:xfrm>
              <a:custGeom>
                <a:avLst/>
                <a:gdLst>
                  <a:gd name="T0" fmla="*/ 0 w 70"/>
                  <a:gd name="T1" fmla="*/ 71 h 71"/>
                  <a:gd name="T2" fmla="*/ 70 w 70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0" y="71"/>
                    </a:moveTo>
                    <a:cubicBezTo>
                      <a:pt x="39" y="71"/>
                      <a:pt x="70" y="39"/>
                      <a:pt x="7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6" name="Freeform 654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209550" cy="214312"/>
              </a:xfrm>
              <a:custGeom>
                <a:avLst/>
                <a:gdLst>
                  <a:gd name="T0" fmla="*/ 0 w 57"/>
                  <a:gd name="T1" fmla="*/ 58 h 58"/>
                  <a:gd name="T2" fmla="*/ 57 w 57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7" h="58">
                    <a:moveTo>
                      <a:pt x="0" y="58"/>
                    </a:moveTo>
                    <a:cubicBezTo>
                      <a:pt x="32" y="58"/>
                      <a:pt x="57" y="32"/>
                      <a:pt x="5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7" name="Freeform 655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165100" cy="166687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4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8" name="Freeform 656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7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9" name="Freeform 657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69850" cy="74612"/>
              </a:xfrm>
              <a:custGeom>
                <a:avLst/>
                <a:gdLst>
                  <a:gd name="T0" fmla="*/ 0 w 19"/>
                  <a:gd name="T1" fmla="*/ 20 h 20"/>
                  <a:gd name="T2" fmla="*/ 19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0" y="20"/>
                    </a:moveTo>
                    <a:cubicBezTo>
                      <a:pt x="10" y="20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0" name="Freeform 658"/>
              <p:cNvSpPr>
                <a:spLocks/>
              </p:cNvSpPr>
              <p:nvPr userDrawn="1"/>
            </p:nvSpPr>
            <p:spPr bwMode="auto">
              <a:xfrm>
                <a:off x="6586537" y="3290888"/>
                <a:ext cx="22225" cy="26987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3" y="7"/>
                      <a:pt x="6" y="4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1" name="Freeform 659"/>
              <p:cNvSpPr>
                <a:spLocks/>
              </p:cNvSpPr>
              <p:nvPr userDrawn="1"/>
            </p:nvSpPr>
            <p:spPr bwMode="auto">
              <a:xfrm>
                <a:off x="6586537" y="4262438"/>
                <a:ext cx="966788" cy="971550"/>
              </a:xfrm>
              <a:custGeom>
                <a:avLst/>
                <a:gdLst>
                  <a:gd name="T0" fmla="*/ 0 w 263"/>
                  <a:gd name="T1" fmla="*/ 0 h 264"/>
                  <a:gd name="T2" fmla="*/ 263 w 263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0" y="0"/>
                    </a:moveTo>
                    <a:cubicBezTo>
                      <a:pt x="0" y="146"/>
                      <a:pt x="117" y="264"/>
                      <a:pt x="263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2" name="Freeform 660"/>
              <p:cNvSpPr>
                <a:spLocks/>
              </p:cNvSpPr>
              <p:nvPr userDrawn="1"/>
            </p:nvSpPr>
            <p:spPr bwMode="auto">
              <a:xfrm>
                <a:off x="6630987" y="4262438"/>
                <a:ext cx="922338" cy="923925"/>
              </a:xfrm>
              <a:custGeom>
                <a:avLst/>
                <a:gdLst>
                  <a:gd name="T0" fmla="*/ 0 w 251"/>
                  <a:gd name="T1" fmla="*/ 0 h 251"/>
                  <a:gd name="T2" fmla="*/ 251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0"/>
                    </a:moveTo>
                    <a:cubicBezTo>
                      <a:pt x="0" y="139"/>
                      <a:pt x="113" y="251"/>
                      <a:pt x="251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3" name="Freeform 661"/>
              <p:cNvSpPr>
                <a:spLocks/>
              </p:cNvSpPr>
              <p:nvPr userDrawn="1"/>
            </p:nvSpPr>
            <p:spPr bwMode="auto">
              <a:xfrm>
                <a:off x="6678612" y="4262438"/>
                <a:ext cx="874713" cy="876300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2"/>
                      <a:pt x="107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4" name="Freeform 662"/>
              <p:cNvSpPr>
                <a:spLocks/>
              </p:cNvSpPr>
              <p:nvPr userDrawn="1"/>
            </p:nvSpPr>
            <p:spPr bwMode="auto">
              <a:xfrm>
                <a:off x="6726237" y="4262438"/>
                <a:ext cx="827088" cy="828675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5"/>
                      <a:pt x="101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5" name="Freeform 663"/>
              <p:cNvSpPr>
                <a:spLocks/>
              </p:cNvSpPr>
              <p:nvPr userDrawn="1"/>
            </p:nvSpPr>
            <p:spPr bwMode="auto">
              <a:xfrm>
                <a:off x="6773862" y="4262438"/>
                <a:ext cx="779463" cy="779462"/>
              </a:xfrm>
              <a:custGeom>
                <a:avLst/>
                <a:gdLst>
                  <a:gd name="T0" fmla="*/ 0 w 212"/>
                  <a:gd name="T1" fmla="*/ 0 h 212"/>
                  <a:gd name="T2" fmla="*/ 212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0"/>
                    </a:moveTo>
                    <a:cubicBezTo>
                      <a:pt x="0" y="117"/>
                      <a:pt x="95" y="212"/>
                      <a:pt x="212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6" name="Freeform 664"/>
              <p:cNvSpPr>
                <a:spLocks/>
              </p:cNvSpPr>
              <p:nvPr userDrawn="1"/>
            </p:nvSpPr>
            <p:spPr bwMode="auto">
              <a:xfrm>
                <a:off x="6821487" y="4262438"/>
                <a:ext cx="731838" cy="736600"/>
              </a:xfrm>
              <a:custGeom>
                <a:avLst/>
                <a:gdLst>
                  <a:gd name="T0" fmla="*/ 0 w 199"/>
                  <a:gd name="T1" fmla="*/ 0 h 200"/>
                  <a:gd name="T2" fmla="*/ 199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0"/>
                    </a:moveTo>
                    <a:cubicBezTo>
                      <a:pt x="0" y="110"/>
                      <a:pt x="89" y="200"/>
                      <a:pt x="199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7" name="Freeform 665"/>
              <p:cNvSpPr>
                <a:spLocks/>
              </p:cNvSpPr>
              <p:nvPr userDrawn="1"/>
            </p:nvSpPr>
            <p:spPr bwMode="auto">
              <a:xfrm>
                <a:off x="6870700" y="4262438"/>
                <a:ext cx="682625" cy="687387"/>
              </a:xfrm>
              <a:custGeom>
                <a:avLst/>
                <a:gdLst>
                  <a:gd name="T0" fmla="*/ 0 w 186"/>
                  <a:gd name="T1" fmla="*/ 0 h 187"/>
                  <a:gd name="T2" fmla="*/ 186 w 186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0" y="0"/>
                    </a:moveTo>
                    <a:cubicBezTo>
                      <a:pt x="0" y="103"/>
                      <a:pt x="83" y="187"/>
                      <a:pt x="186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8" name="Freeform 666"/>
              <p:cNvSpPr>
                <a:spLocks/>
              </p:cNvSpPr>
              <p:nvPr userDrawn="1"/>
            </p:nvSpPr>
            <p:spPr bwMode="auto">
              <a:xfrm>
                <a:off x="6918325" y="4262438"/>
                <a:ext cx="635000" cy="639762"/>
              </a:xfrm>
              <a:custGeom>
                <a:avLst/>
                <a:gdLst>
                  <a:gd name="T0" fmla="*/ 0 w 173"/>
                  <a:gd name="T1" fmla="*/ 0 h 174"/>
                  <a:gd name="T2" fmla="*/ 173 w 173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0" y="0"/>
                    </a:moveTo>
                    <a:cubicBezTo>
                      <a:pt x="0" y="96"/>
                      <a:pt x="77" y="174"/>
                      <a:pt x="173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9" name="Freeform 667"/>
              <p:cNvSpPr>
                <a:spLocks/>
              </p:cNvSpPr>
              <p:nvPr userDrawn="1"/>
            </p:nvSpPr>
            <p:spPr bwMode="auto">
              <a:xfrm>
                <a:off x="6961187" y="4262438"/>
                <a:ext cx="592138" cy="592137"/>
              </a:xfrm>
              <a:custGeom>
                <a:avLst/>
                <a:gdLst>
                  <a:gd name="T0" fmla="*/ 0 w 161"/>
                  <a:gd name="T1" fmla="*/ 0 h 161"/>
                  <a:gd name="T2" fmla="*/ 161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0"/>
                    </a:moveTo>
                    <a:cubicBezTo>
                      <a:pt x="0" y="89"/>
                      <a:pt x="72" y="161"/>
                      <a:pt x="161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0" name="Freeform 668"/>
              <p:cNvSpPr>
                <a:spLocks/>
              </p:cNvSpPr>
              <p:nvPr userDrawn="1"/>
            </p:nvSpPr>
            <p:spPr bwMode="auto">
              <a:xfrm>
                <a:off x="7010400" y="4262438"/>
                <a:ext cx="542925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2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1" name="Freeform 669"/>
              <p:cNvSpPr>
                <a:spLocks/>
              </p:cNvSpPr>
              <p:nvPr userDrawn="1"/>
            </p:nvSpPr>
            <p:spPr bwMode="auto">
              <a:xfrm>
                <a:off x="7058025" y="42624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5"/>
                      <a:pt x="61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2" name="Freeform 670"/>
              <p:cNvSpPr>
                <a:spLocks/>
              </p:cNvSpPr>
              <p:nvPr userDrawn="1"/>
            </p:nvSpPr>
            <p:spPr bwMode="auto">
              <a:xfrm>
                <a:off x="7105650" y="4262438"/>
                <a:ext cx="447675" cy="449262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8"/>
                      <a:pt x="55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3" name="Freeform 671"/>
              <p:cNvSpPr>
                <a:spLocks/>
              </p:cNvSpPr>
              <p:nvPr userDrawn="1"/>
            </p:nvSpPr>
            <p:spPr bwMode="auto">
              <a:xfrm>
                <a:off x="7153275" y="4262438"/>
                <a:ext cx="400050" cy="401637"/>
              </a:xfrm>
              <a:custGeom>
                <a:avLst/>
                <a:gdLst>
                  <a:gd name="T0" fmla="*/ 0 w 109"/>
                  <a:gd name="T1" fmla="*/ 0 h 109"/>
                  <a:gd name="T2" fmla="*/ 109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0"/>
                    </a:moveTo>
                    <a:cubicBezTo>
                      <a:pt x="0" y="61"/>
                      <a:pt x="49" y="109"/>
                      <a:pt x="109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4" name="Freeform 672"/>
              <p:cNvSpPr>
                <a:spLocks/>
              </p:cNvSpPr>
              <p:nvPr userDrawn="1"/>
            </p:nvSpPr>
            <p:spPr bwMode="auto">
              <a:xfrm>
                <a:off x="7200900" y="4262438"/>
                <a:ext cx="352425" cy="357187"/>
              </a:xfrm>
              <a:custGeom>
                <a:avLst/>
                <a:gdLst>
                  <a:gd name="T0" fmla="*/ 0 w 96"/>
                  <a:gd name="T1" fmla="*/ 0 h 97"/>
                  <a:gd name="T2" fmla="*/ 96 w 96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0" y="0"/>
                    </a:moveTo>
                    <a:cubicBezTo>
                      <a:pt x="0" y="53"/>
                      <a:pt x="43" y="97"/>
                      <a:pt x="96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5" name="Freeform 673"/>
              <p:cNvSpPr>
                <a:spLocks/>
              </p:cNvSpPr>
              <p:nvPr userDrawn="1"/>
            </p:nvSpPr>
            <p:spPr bwMode="auto">
              <a:xfrm>
                <a:off x="7248525" y="4262438"/>
                <a:ext cx="304800" cy="309562"/>
              </a:xfrm>
              <a:custGeom>
                <a:avLst/>
                <a:gdLst>
                  <a:gd name="T0" fmla="*/ 0 w 83"/>
                  <a:gd name="T1" fmla="*/ 0 h 84"/>
                  <a:gd name="T2" fmla="*/ 83 w 83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0" y="0"/>
                    </a:moveTo>
                    <a:cubicBezTo>
                      <a:pt x="0" y="46"/>
                      <a:pt x="37" y="84"/>
                      <a:pt x="83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6" name="Freeform 674"/>
              <p:cNvSpPr>
                <a:spLocks/>
              </p:cNvSpPr>
              <p:nvPr userDrawn="1"/>
            </p:nvSpPr>
            <p:spPr bwMode="auto">
              <a:xfrm>
                <a:off x="7296150" y="4262438"/>
                <a:ext cx="257175" cy="261937"/>
              </a:xfrm>
              <a:custGeom>
                <a:avLst/>
                <a:gdLst>
                  <a:gd name="T0" fmla="*/ 0 w 70"/>
                  <a:gd name="T1" fmla="*/ 0 h 71"/>
                  <a:gd name="T2" fmla="*/ 70 w 70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0" y="0"/>
                    </a:moveTo>
                    <a:cubicBezTo>
                      <a:pt x="0" y="39"/>
                      <a:pt x="31" y="71"/>
                      <a:pt x="7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7" name="Freeform 675"/>
              <p:cNvSpPr>
                <a:spLocks/>
              </p:cNvSpPr>
              <p:nvPr userDrawn="1"/>
            </p:nvSpPr>
            <p:spPr bwMode="auto">
              <a:xfrm>
                <a:off x="7340600" y="4262438"/>
                <a:ext cx="212725" cy="214312"/>
              </a:xfrm>
              <a:custGeom>
                <a:avLst/>
                <a:gdLst>
                  <a:gd name="T0" fmla="*/ 0 w 58"/>
                  <a:gd name="T1" fmla="*/ 0 h 58"/>
                  <a:gd name="T2" fmla="*/ 58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0"/>
                    </a:moveTo>
                    <a:cubicBezTo>
                      <a:pt x="0" y="32"/>
                      <a:pt x="26" y="58"/>
                      <a:pt x="58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8" name="Freeform 676"/>
              <p:cNvSpPr>
                <a:spLocks/>
              </p:cNvSpPr>
              <p:nvPr userDrawn="1"/>
            </p:nvSpPr>
            <p:spPr bwMode="auto">
              <a:xfrm>
                <a:off x="7388225" y="42624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5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9" name="Freeform 677"/>
              <p:cNvSpPr>
                <a:spLocks/>
              </p:cNvSpPr>
              <p:nvPr userDrawn="1"/>
            </p:nvSpPr>
            <p:spPr bwMode="auto">
              <a:xfrm>
                <a:off x="7435850" y="42624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8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0" name="Freeform 678"/>
              <p:cNvSpPr>
                <a:spLocks/>
              </p:cNvSpPr>
              <p:nvPr userDrawn="1"/>
            </p:nvSpPr>
            <p:spPr bwMode="auto">
              <a:xfrm>
                <a:off x="7483475" y="4262438"/>
                <a:ext cx="69850" cy="69850"/>
              </a:xfrm>
              <a:custGeom>
                <a:avLst/>
                <a:gdLst>
                  <a:gd name="T0" fmla="*/ 0 w 19"/>
                  <a:gd name="T1" fmla="*/ 0 h 19"/>
                  <a:gd name="T2" fmla="*/ 19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0"/>
                    </a:moveTo>
                    <a:cubicBezTo>
                      <a:pt x="0" y="11"/>
                      <a:pt x="9" y="19"/>
                      <a:pt x="19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1" name="Freeform 679"/>
              <p:cNvSpPr>
                <a:spLocks/>
              </p:cNvSpPr>
              <p:nvPr userDrawn="1"/>
            </p:nvSpPr>
            <p:spPr bwMode="auto">
              <a:xfrm>
                <a:off x="7531100" y="4262438"/>
                <a:ext cx="22225" cy="25400"/>
              </a:xfrm>
              <a:custGeom>
                <a:avLst/>
                <a:gdLst>
                  <a:gd name="T0" fmla="*/ 0 w 6"/>
                  <a:gd name="T1" fmla="*/ 0 h 7"/>
                  <a:gd name="T2" fmla="*/ 6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cubicBezTo>
                      <a:pt x="0" y="4"/>
                      <a:pt x="3" y="7"/>
                      <a:pt x="6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2" name="Freeform 680"/>
              <p:cNvSpPr>
                <a:spLocks/>
              </p:cNvSpPr>
              <p:nvPr userDrawn="1"/>
            </p:nvSpPr>
            <p:spPr bwMode="auto">
              <a:xfrm>
                <a:off x="7553325" y="4262438"/>
                <a:ext cx="969963" cy="971550"/>
              </a:xfrm>
              <a:custGeom>
                <a:avLst/>
                <a:gdLst>
                  <a:gd name="T0" fmla="*/ 264 w 264"/>
                  <a:gd name="T1" fmla="*/ 0 h 264"/>
                  <a:gd name="T2" fmla="*/ 0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0"/>
                    </a:moveTo>
                    <a:cubicBezTo>
                      <a:pt x="118" y="0"/>
                      <a:pt x="0" y="118"/>
                      <a:pt x="0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3" name="Freeform 681"/>
              <p:cNvSpPr>
                <a:spLocks/>
              </p:cNvSpPr>
              <p:nvPr userDrawn="1"/>
            </p:nvSpPr>
            <p:spPr bwMode="auto">
              <a:xfrm>
                <a:off x="7600950" y="4310063"/>
                <a:ext cx="922338" cy="923925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2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4" name="Freeform 682"/>
              <p:cNvSpPr>
                <a:spLocks/>
              </p:cNvSpPr>
              <p:nvPr userDrawn="1"/>
            </p:nvSpPr>
            <p:spPr bwMode="auto">
              <a:xfrm>
                <a:off x="7648575" y="4357688"/>
                <a:ext cx="874713" cy="876300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6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5" name="Freeform 683"/>
              <p:cNvSpPr>
                <a:spLocks/>
              </p:cNvSpPr>
              <p:nvPr userDrawn="1"/>
            </p:nvSpPr>
            <p:spPr bwMode="auto">
              <a:xfrm>
                <a:off x="7696200" y="4405313"/>
                <a:ext cx="827088" cy="828675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0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6" name="Freeform 684"/>
              <p:cNvSpPr>
                <a:spLocks/>
              </p:cNvSpPr>
              <p:nvPr userDrawn="1"/>
            </p:nvSpPr>
            <p:spPr bwMode="auto">
              <a:xfrm>
                <a:off x="7745412" y="4454525"/>
                <a:ext cx="777875" cy="779462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7" name="Freeform 685"/>
              <p:cNvSpPr>
                <a:spLocks/>
              </p:cNvSpPr>
              <p:nvPr userDrawn="1"/>
            </p:nvSpPr>
            <p:spPr bwMode="auto">
              <a:xfrm>
                <a:off x="7793037" y="4497388"/>
                <a:ext cx="730250" cy="736600"/>
              </a:xfrm>
              <a:custGeom>
                <a:avLst/>
                <a:gdLst>
                  <a:gd name="T0" fmla="*/ 199 w 199"/>
                  <a:gd name="T1" fmla="*/ 0 h 200"/>
                  <a:gd name="T2" fmla="*/ 0 w 199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0"/>
                    </a:moveTo>
                    <a:cubicBezTo>
                      <a:pt x="89" y="0"/>
                      <a:pt x="0" y="90"/>
                      <a:pt x="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8" name="Freeform 686"/>
              <p:cNvSpPr>
                <a:spLocks/>
              </p:cNvSpPr>
              <p:nvPr userDrawn="1"/>
            </p:nvSpPr>
            <p:spPr bwMode="auto">
              <a:xfrm>
                <a:off x="7835900" y="4546600"/>
                <a:ext cx="687388" cy="687387"/>
              </a:xfrm>
              <a:custGeom>
                <a:avLst/>
                <a:gdLst>
                  <a:gd name="T0" fmla="*/ 187 w 187"/>
                  <a:gd name="T1" fmla="*/ 0 h 187"/>
                  <a:gd name="T2" fmla="*/ 0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0"/>
                    </a:moveTo>
                    <a:cubicBezTo>
                      <a:pt x="84" y="0"/>
                      <a:pt x="0" y="84"/>
                      <a:pt x="0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49" name="Freeform 687"/>
              <p:cNvSpPr>
                <a:spLocks/>
              </p:cNvSpPr>
              <p:nvPr userDrawn="1"/>
            </p:nvSpPr>
            <p:spPr bwMode="auto">
              <a:xfrm>
                <a:off x="7883525" y="4594225"/>
                <a:ext cx="639763" cy="639762"/>
              </a:xfrm>
              <a:custGeom>
                <a:avLst/>
                <a:gdLst>
                  <a:gd name="T0" fmla="*/ 174 w 174"/>
                  <a:gd name="T1" fmla="*/ 0 h 174"/>
                  <a:gd name="T2" fmla="*/ 0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0" name="Freeform 688"/>
              <p:cNvSpPr>
                <a:spLocks/>
              </p:cNvSpPr>
              <p:nvPr userDrawn="1"/>
            </p:nvSpPr>
            <p:spPr bwMode="auto">
              <a:xfrm>
                <a:off x="7932737" y="4641850"/>
                <a:ext cx="590550" cy="592137"/>
              </a:xfrm>
              <a:custGeom>
                <a:avLst/>
                <a:gdLst>
                  <a:gd name="T0" fmla="*/ 161 w 161"/>
                  <a:gd name="T1" fmla="*/ 0 h 161"/>
                  <a:gd name="T2" fmla="*/ 0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0"/>
                    </a:moveTo>
                    <a:cubicBezTo>
                      <a:pt x="72" y="0"/>
                      <a:pt x="0" y="72"/>
                      <a:pt x="0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1" name="Freeform 689"/>
              <p:cNvSpPr>
                <a:spLocks/>
              </p:cNvSpPr>
              <p:nvPr userDrawn="1"/>
            </p:nvSpPr>
            <p:spPr bwMode="auto">
              <a:xfrm>
                <a:off x="7980362" y="4689475"/>
                <a:ext cx="542925" cy="544512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6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2" name="Freeform 690"/>
              <p:cNvSpPr>
                <a:spLocks/>
              </p:cNvSpPr>
              <p:nvPr userDrawn="1"/>
            </p:nvSpPr>
            <p:spPr bwMode="auto">
              <a:xfrm>
                <a:off x="8027987" y="4737100"/>
                <a:ext cx="495300" cy="496887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0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3" name="Freeform 691"/>
              <p:cNvSpPr>
                <a:spLocks/>
              </p:cNvSpPr>
              <p:nvPr userDrawn="1"/>
            </p:nvSpPr>
            <p:spPr bwMode="auto">
              <a:xfrm>
                <a:off x="8075612" y="4784725"/>
                <a:ext cx="447675" cy="449262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4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4" name="Freeform 692"/>
              <p:cNvSpPr>
                <a:spLocks/>
              </p:cNvSpPr>
              <p:nvPr userDrawn="1"/>
            </p:nvSpPr>
            <p:spPr bwMode="auto">
              <a:xfrm>
                <a:off x="8123237" y="4829175"/>
                <a:ext cx="400050" cy="404812"/>
              </a:xfrm>
              <a:custGeom>
                <a:avLst/>
                <a:gdLst>
                  <a:gd name="T0" fmla="*/ 109 w 109"/>
                  <a:gd name="T1" fmla="*/ 0 h 110"/>
                  <a:gd name="T2" fmla="*/ 0 w 109"/>
                  <a:gd name="T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0"/>
                    </a:moveTo>
                    <a:cubicBezTo>
                      <a:pt x="49" y="0"/>
                      <a:pt x="0" y="49"/>
                      <a:pt x="0" y="11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5" name="Freeform 693"/>
              <p:cNvSpPr>
                <a:spLocks/>
              </p:cNvSpPr>
              <p:nvPr userDrawn="1"/>
            </p:nvSpPr>
            <p:spPr bwMode="auto">
              <a:xfrm>
                <a:off x="8170862" y="4876800"/>
                <a:ext cx="352425" cy="357187"/>
              </a:xfrm>
              <a:custGeom>
                <a:avLst/>
                <a:gdLst>
                  <a:gd name="T0" fmla="*/ 96 w 96"/>
                  <a:gd name="T1" fmla="*/ 0 h 97"/>
                  <a:gd name="T2" fmla="*/ 0 w 96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96" y="0"/>
                    </a:moveTo>
                    <a:cubicBezTo>
                      <a:pt x="43" y="0"/>
                      <a:pt x="0" y="44"/>
                      <a:pt x="0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6" name="Freeform 694"/>
              <p:cNvSpPr>
                <a:spLocks/>
              </p:cNvSpPr>
              <p:nvPr userDrawn="1"/>
            </p:nvSpPr>
            <p:spPr bwMode="auto">
              <a:xfrm>
                <a:off x="8215312" y="4924425"/>
                <a:ext cx="307975" cy="309562"/>
              </a:xfrm>
              <a:custGeom>
                <a:avLst/>
                <a:gdLst>
                  <a:gd name="T0" fmla="*/ 84 w 84"/>
                  <a:gd name="T1" fmla="*/ 0 h 84"/>
                  <a:gd name="T2" fmla="*/ 0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cubicBezTo>
                      <a:pt x="38" y="0"/>
                      <a:pt x="0" y="38"/>
                      <a:pt x="0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7" name="Freeform 695"/>
              <p:cNvSpPr>
                <a:spLocks/>
              </p:cNvSpPr>
              <p:nvPr userDrawn="1"/>
            </p:nvSpPr>
            <p:spPr bwMode="auto">
              <a:xfrm>
                <a:off x="8262937" y="4972050"/>
                <a:ext cx="260350" cy="261937"/>
              </a:xfrm>
              <a:custGeom>
                <a:avLst/>
                <a:gdLst>
                  <a:gd name="T0" fmla="*/ 71 w 71"/>
                  <a:gd name="T1" fmla="*/ 0 h 71"/>
                  <a:gd name="T2" fmla="*/ 0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32" y="0"/>
                      <a:pt x="0" y="32"/>
                      <a:pt x="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8" name="Freeform 696"/>
              <p:cNvSpPr>
                <a:spLocks/>
              </p:cNvSpPr>
              <p:nvPr userDrawn="1"/>
            </p:nvSpPr>
            <p:spPr bwMode="auto">
              <a:xfrm>
                <a:off x="8310562" y="5021263"/>
                <a:ext cx="212725" cy="212725"/>
              </a:xfrm>
              <a:custGeom>
                <a:avLst/>
                <a:gdLst>
                  <a:gd name="T0" fmla="*/ 58 w 58"/>
                  <a:gd name="T1" fmla="*/ 0 h 58"/>
                  <a:gd name="T2" fmla="*/ 0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0"/>
                    </a:moveTo>
                    <a:cubicBezTo>
                      <a:pt x="26" y="0"/>
                      <a:pt x="0" y="26"/>
                      <a:pt x="0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59" name="Freeform 697"/>
              <p:cNvSpPr>
                <a:spLocks/>
              </p:cNvSpPr>
              <p:nvPr userDrawn="1"/>
            </p:nvSpPr>
            <p:spPr bwMode="auto">
              <a:xfrm>
                <a:off x="8358187" y="5068888"/>
                <a:ext cx="165100" cy="165100"/>
              </a:xfrm>
              <a:custGeom>
                <a:avLst/>
                <a:gdLst>
                  <a:gd name="T0" fmla="*/ 45 w 45"/>
                  <a:gd name="T1" fmla="*/ 0 h 45"/>
                  <a:gd name="T2" fmla="*/ 0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0" name="Freeform 698"/>
              <p:cNvSpPr>
                <a:spLocks/>
              </p:cNvSpPr>
              <p:nvPr userDrawn="1"/>
            </p:nvSpPr>
            <p:spPr bwMode="auto">
              <a:xfrm>
                <a:off x="8405812" y="5116513"/>
                <a:ext cx="117475" cy="117475"/>
              </a:xfrm>
              <a:custGeom>
                <a:avLst/>
                <a:gdLst>
                  <a:gd name="T0" fmla="*/ 32 w 32"/>
                  <a:gd name="T1" fmla="*/ 0 h 32"/>
                  <a:gd name="T2" fmla="*/ 0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0"/>
                    </a:moveTo>
                    <a:cubicBezTo>
                      <a:pt x="14" y="0"/>
                      <a:pt x="0" y="14"/>
                      <a:pt x="0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1" name="Freeform 699"/>
              <p:cNvSpPr>
                <a:spLocks/>
              </p:cNvSpPr>
              <p:nvPr userDrawn="1"/>
            </p:nvSpPr>
            <p:spPr bwMode="auto">
              <a:xfrm>
                <a:off x="8453437" y="5164138"/>
                <a:ext cx="69850" cy="69850"/>
              </a:xfrm>
              <a:custGeom>
                <a:avLst/>
                <a:gdLst>
                  <a:gd name="T0" fmla="*/ 19 w 19"/>
                  <a:gd name="T1" fmla="*/ 0 h 19"/>
                  <a:gd name="T2" fmla="*/ 0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0"/>
                    </a:moveTo>
                    <a:cubicBezTo>
                      <a:pt x="8" y="0"/>
                      <a:pt x="0" y="8"/>
                      <a:pt x="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2" name="Freeform 700"/>
              <p:cNvSpPr>
                <a:spLocks/>
              </p:cNvSpPr>
              <p:nvPr userDrawn="1"/>
            </p:nvSpPr>
            <p:spPr bwMode="auto">
              <a:xfrm>
                <a:off x="8501062" y="5208588"/>
                <a:ext cx="22225" cy="25400"/>
              </a:xfrm>
              <a:custGeom>
                <a:avLst/>
                <a:gdLst>
                  <a:gd name="T0" fmla="*/ 6 w 6"/>
                  <a:gd name="T1" fmla="*/ 0 h 7"/>
                  <a:gd name="T2" fmla="*/ 0 w 6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0"/>
                    </a:moveTo>
                    <a:cubicBezTo>
                      <a:pt x="2" y="0"/>
                      <a:pt x="0" y="3"/>
                      <a:pt x="0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3" name="Freeform 701"/>
              <p:cNvSpPr>
                <a:spLocks/>
              </p:cNvSpPr>
              <p:nvPr userDrawn="1"/>
            </p:nvSpPr>
            <p:spPr bwMode="auto">
              <a:xfrm>
                <a:off x="5616575" y="32908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4" name="Freeform 702"/>
              <p:cNvSpPr>
                <a:spLocks/>
              </p:cNvSpPr>
              <p:nvPr userDrawn="1"/>
            </p:nvSpPr>
            <p:spPr bwMode="auto">
              <a:xfrm>
                <a:off x="5616575" y="33385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5" name="Freeform 703"/>
              <p:cNvSpPr>
                <a:spLocks/>
              </p:cNvSpPr>
              <p:nvPr userDrawn="1"/>
            </p:nvSpPr>
            <p:spPr bwMode="auto">
              <a:xfrm>
                <a:off x="5616575" y="3387725"/>
                <a:ext cx="874713" cy="874712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7"/>
                      <a:pt x="13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6" name="Freeform 704"/>
              <p:cNvSpPr>
                <a:spLocks/>
              </p:cNvSpPr>
              <p:nvPr userDrawn="1"/>
            </p:nvSpPr>
            <p:spPr bwMode="auto">
              <a:xfrm>
                <a:off x="5616575" y="3435350"/>
                <a:ext cx="827088" cy="827087"/>
              </a:xfrm>
              <a:custGeom>
                <a:avLst/>
                <a:gdLst>
                  <a:gd name="T0" fmla="*/ 225 w 225"/>
                  <a:gd name="T1" fmla="*/ 225 h 225"/>
                  <a:gd name="T2" fmla="*/ 0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225"/>
                    </a:moveTo>
                    <a:cubicBezTo>
                      <a:pt x="225" y="101"/>
                      <a:pt x="12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7" name="Freeform 705"/>
              <p:cNvSpPr>
                <a:spLocks/>
              </p:cNvSpPr>
              <p:nvPr userDrawn="1"/>
            </p:nvSpPr>
            <p:spPr bwMode="auto">
              <a:xfrm>
                <a:off x="5616575" y="3482975"/>
                <a:ext cx="779463" cy="779462"/>
              </a:xfrm>
              <a:custGeom>
                <a:avLst/>
                <a:gdLst>
                  <a:gd name="T0" fmla="*/ 212 w 212"/>
                  <a:gd name="T1" fmla="*/ 212 h 212"/>
                  <a:gd name="T2" fmla="*/ 0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212"/>
                    </a:moveTo>
                    <a:cubicBezTo>
                      <a:pt x="212" y="95"/>
                      <a:pt x="11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8" name="Freeform 706"/>
              <p:cNvSpPr>
                <a:spLocks/>
              </p:cNvSpPr>
              <p:nvPr userDrawn="1"/>
            </p:nvSpPr>
            <p:spPr bwMode="auto">
              <a:xfrm>
                <a:off x="5616575" y="3530600"/>
                <a:ext cx="731838" cy="731837"/>
              </a:xfrm>
              <a:custGeom>
                <a:avLst/>
                <a:gdLst>
                  <a:gd name="T0" fmla="*/ 199 w 199"/>
                  <a:gd name="T1" fmla="*/ 199 h 199"/>
                  <a:gd name="T2" fmla="*/ 0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199"/>
                    </a:moveTo>
                    <a:cubicBezTo>
                      <a:pt x="199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69" name="Freeform 707"/>
              <p:cNvSpPr>
                <a:spLocks/>
              </p:cNvSpPr>
              <p:nvPr userDrawn="1"/>
            </p:nvSpPr>
            <p:spPr bwMode="auto">
              <a:xfrm>
                <a:off x="5616575" y="3578225"/>
                <a:ext cx="684213" cy="684212"/>
              </a:xfrm>
              <a:custGeom>
                <a:avLst/>
                <a:gdLst>
                  <a:gd name="T0" fmla="*/ 186 w 186"/>
                  <a:gd name="T1" fmla="*/ 186 h 186"/>
                  <a:gd name="T2" fmla="*/ 0 w 186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186" y="186"/>
                    </a:moveTo>
                    <a:cubicBezTo>
                      <a:pt x="186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0" name="Freeform 708"/>
              <p:cNvSpPr>
                <a:spLocks/>
              </p:cNvSpPr>
              <p:nvPr userDrawn="1"/>
            </p:nvSpPr>
            <p:spPr bwMode="auto">
              <a:xfrm>
                <a:off x="5616575" y="3622675"/>
                <a:ext cx="636588" cy="639762"/>
              </a:xfrm>
              <a:custGeom>
                <a:avLst/>
                <a:gdLst>
                  <a:gd name="T0" fmla="*/ 173 w 173"/>
                  <a:gd name="T1" fmla="*/ 174 h 174"/>
                  <a:gd name="T2" fmla="*/ 0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173" y="174"/>
                    </a:moveTo>
                    <a:cubicBezTo>
                      <a:pt x="173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1" name="Freeform 709"/>
              <p:cNvSpPr>
                <a:spLocks/>
              </p:cNvSpPr>
              <p:nvPr userDrawn="1"/>
            </p:nvSpPr>
            <p:spPr bwMode="auto">
              <a:xfrm>
                <a:off x="5616575" y="3670300"/>
                <a:ext cx="592138" cy="592137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2" name="Freeform 710"/>
              <p:cNvSpPr>
                <a:spLocks/>
              </p:cNvSpPr>
              <p:nvPr userDrawn="1"/>
            </p:nvSpPr>
            <p:spPr bwMode="auto">
              <a:xfrm>
                <a:off x="5616575" y="3717925"/>
                <a:ext cx="544513" cy="544512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3" name="Freeform 711"/>
              <p:cNvSpPr>
                <a:spLocks/>
              </p:cNvSpPr>
              <p:nvPr userDrawn="1"/>
            </p:nvSpPr>
            <p:spPr bwMode="auto">
              <a:xfrm>
                <a:off x="5616575" y="3765550"/>
                <a:ext cx="496888" cy="496887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4" name="Freeform 712"/>
              <p:cNvSpPr>
                <a:spLocks/>
              </p:cNvSpPr>
              <p:nvPr userDrawn="1"/>
            </p:nvSpPr>
            <p:spPr bwMode="auto">
              <a:xfrm>
                <a:off x="5616575" y="3813175"/>
                <a:ext cx="449263" cy="449262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cubicBezTo>
                      <a:pt x="122" y="55"/>
                      <a:pt x="6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5" name="Freeform 713"/>
              <p:cNvSpPr>
                <a:spLocks/>
              </p:cNvSpPr>
              <p:nvPr userDrawn="1"/>
            </p:nvSpPr>
            <p:spPr bwMode="auto">
              <a:xfrm>
                <a:off x="5616575" y="3862388"/>
                <a:ext cx="400050" cy="400050"/>
              </a:xfrm>
              <a:custGeom>
                <a:avLst/>
                <a:gdLst>
                  <a:gd name="T0" fmla="*/ 109 w 109"/>
                  <a:gd name="T1" fmla="*/ 109 h 109"/>
                  <a:gd name="T2" fmla="*/ 0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109"/>
                    </a:moveTo>
                    <a:cubicBezTo>
                      <a:pt x="109" y="49"/>
                      <a:pt x="6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6" name="Freeform 714"/>
              <p:cNvSpPr>
                <a:spLocks/>
              </p:cNvSpPr>
              <p:nvPr userDrawn="1"/>
            </p:nvSpPr>
            <p:spPr bwMode="auto">
              <a:xfrm>
                <a:off x="5616575" y="3910013"/>
                <a:ext cx="352425" cy="352425"/>
              </a:xfrm>
              <a:custGeom>
                <a:avLst/>
                <a:gdLst>
                  <a:gd name="T0" fmla="*/ 96 w 96"/>
                  <a:gd name="T1" fmla="*/ 96 h 96"/>
                  <a:gd name="T2" fmla="*/ 0 w 96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96" y="96"/>
                    </a:moveTo>
                    <a:cubicBezTo>
                      <a:pt x="96" y="43"/>
                      <a:pt x="5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7" name="Freeform 715"/>
              <p:cNvSpPr>
                <a:spLocks/>
              </p:cNvSpPr>
              <p:nvPr userDrawn="1"/>
            </p:nvSpPr>
            <p:spPr bwMode="auto">
              <a:xfrm>
                <a:off x="5616575" y="3952875"/>
                <a:ext cx="304800" cy="309562"/>
              </a:xfrm>
              <a:custGeom>
                <a:avLst/>
                <a:gdLst>
                  <a:gd name="T0" fmla="*/ 83 w 83"/>
                  <a:gd name="T1" fmla="*/ 84 h 84"/>
                  <a:gd name="T2" fmla="*/ 0 w 83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83" y="84"/>
                    </a:moveTo>
                    <a:cubicBezTo>
                      <a:pt x="83" y="38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8" name="Freeform 716"/>
              <p:cNvSpPr>
                <a:spLocks/>
              </p:cNvSpPr>
              <p:nvPr userDrawn="1"/>
            </p:nvSpPr>
            <p:spPr bwMode="auto">
              <a:xfrm>
                <a:off x="5616575" y="4002088"/>
                <a:ext cx="260350" cy="260350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2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79" name="Freeform 717"/>
              <p:cNvSpPr>
                <a:spLocks/>
              </p:cNvSpPr>
              <p:nvPr userDrawn="1"/>
            </p:nvSpPr>
            <p:spPr bwMode="auto">
              <a:xfrm>
                <a:off x="5616575" y="4049713"/>
                <a:ext cx="212725" cy="212725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0" name="Freeform 718"/>
              <p:cNvSpPr>
                <a:spLocks/>
              </p:cNvSpPr>
              <p:nvPr userDrawn="1"/>
            </p:nvSpPr>
            <p:spPr bwMode="auto">
              <a:xfrm>
                <a:off x="5616575" y="4097338"/>
                <a:ext cx="165100" cy="165100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1" name="Freeform 719"/>
              <p:cNvSpPr>
                <a:spLocks/>
              </p:cNvSpPr>
              <p:nvPr userDrawn="1"/>
            </p:nvSpPr>
            <p:spPr bwMode="auto">
              <a:xfrm>
                <a:off x="5616575" y="4144963"/>
                <a:ext cx="117475" cy="117475"/>
              </a:xfrm>
              <a:custGeom>
                <a:avLst/>
                <a:gdLst>
                  <a:gd name="T0" fmla="*/ 32 w 32"/>
                  <a:gd name="T1" fmla="*/ 32 h 32"/>
                  <a:gd name="T2" fmla="*/ 0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32" y="32"/>
                    </a:moveTo>
                    <a:cubicBezTo>
                      <a:pt x="32" y="14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2" name="Freeform 720"/>
              <p:cNvSpPr>
                <a:spLocks/>
              </p:cNvSpPr>
              <p:nvPr userDrawn="1"/>
            </p:nvSpPr>
            <p:spPr bwMode="auto">
              <a:xfrm>
                <a:off x="5616575" y="4192588"/>
                <a:ext cx="69850" cy="69850"/>
              </a:xfrm>
              <a:custGeom>
                <a:avLst/>
                <a:gdLst>
                  <a:gd name="T0" fmla="*/ 19 w 19"/>
                  <a:gd name="T1" fmla="*/ 19 h 19"/>
                  <a:gd name="T2" fmla="*/ 0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19" y="19"/>
                    </a:moveTo>
                    <a:cubicBezTo>
                      <a:pt x="19" y="8"/>
                      <a:pt x="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3" name="Freeform 721"/>
              <p:cNvSpPr>
                <a:spLocks/>
              </p:cNvSpPr>
              <p:nvPr userDrawn="1"/>
            </p:nvSpPr>
            <p:spPr bwMode="auto">
              <a:xfrm>
                <a:off x="5616575" y="4240213"/>
                <a:ext cx="22225" cy="22225"/>
              </a:xfrm>
              <a:custGeom>
                <a:avLst/>
                <a:gdLst>
                  <a:gd name="T0" fmla="*/ 6 w 6"/>
                  <a:gd name="T1" fmla="*/ 6 h 6"/>
                  <a:gd name="T2" fmla="*/ 0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cubicBezTo>
                      <a:pt x="6" y="3"/>
                      <a:pt x="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4" name="Freeform 722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5" name="Freeform 723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6" name="Freeform 724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874713" cy="876300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2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7" name="Freeform 725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827088" cy="828675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5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8" name="Freeform 726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779463" cy="784225"/>
              </a:xfrm>
              <a:custGeom>
                <a:avLst/>
                <a:gdLst>
                  <a:gd name="T0" fmla="*/ 0 w 212"/>
                  <a:gd name="T1" fmla="*/ 213 h 213"/>
                  <a:gd name="T2" fmla="*/ 212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0" y="213"/>
                    </a:moveTo>
                    <a:cubicBezTo>
                      <a:pt x="117" y="213"/>
                      <a:pt x="212" y="118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89" name="Freeform 727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731838" cy="736600"/>
              </a:xfrm>
              <a:custGeom>
                <a:avLst/>
                <a:gdLst>
                  <a:gd name="T0" fmla="*/ 0 w 199"/>
                  <a:gd name="T1" fmla="*/ 200 h 200"/>
                  <a:gd name="T2" fmla="*/ 199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0" y="200"/>
                    </a:moveTo>
                    <a:cubicBezTo>
                      <a:pt x="110" y="200"/>
                      <a:pt x="199" y="111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0" name="Freeform 728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687388" cy="688975"/>
              </a:xfrm>
              <a:custGeom>
                <a:avLst/>
                <a:gdLst>
                  <a:gd name="T0" fmla="*/ 0 w 187"/>
                  <a:gd name="T1" fmla="*/ 187 h 187"/>
                  <a:gd name="T2" fmla="*/ 187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187"/>
                    </a:moveTo>
                    <a:cubicBezTo>
                      <a:pt x="103" y="187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1" name="Freeform 729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639763" cy="641350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2" name="Freeform 730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592138" cy="592137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3" name="Freeform 731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544513" cy="544512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4" name="Freeform 732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495300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5" name="Freeform 733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447675" cy="452437"/>
              </a:xfrm>
              <a:custGeom>
                <a:avLst/>
                <a:gdLst>
                  <a:gd name="T0" fmla="*/ 0 w 122"/>
                  <a:gd name="T1" fmla="*/ 123 h 123"/>
                  <a:gd name="T2" fmla="*/ 122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0" y="123"/>
                    </a:moveTo>
                    <a:cubicBezTo>
                      <a:pt x="68" y="123"/>
                      <a:pt x="122" y="68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6" name="Freeform 734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400050" cy="404812"/>
              </a:xfrm>
              <a:custGeom>
                <a:avLst/>
                <a:gdLst>
                  <a:gd name="T0" fmla="*/ 0 w 109"/>
                  <a:gd name="T1" fmla="*/ 110 h 110"/>
                  <a:gd name="T2" fmla="*/ 109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0" y="110"/>
                    </a:moveTo>
                    <a:cubicBezTo>
                      <a:pt x="60" y="110"/>
                      <a:pt x="109" y="61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7" name="Freeform 735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355600" cy="357187"/>
              </a:xfrm>
              <a:custGeom>
                <a:avLst/>
                <a:gdLst>
                  <a:gd name="T0" fmla="*/ 0 w 97"/>
                  <a:gd name="T1" fmla="*/ 97 h 97"/>
                  <a:gd name="T2" fmla="*/ 97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97"/>
                    </a:moveTo>
                    <a:cubicBezTo>
                      <a:pt x="53" y="97"/>
                      <a:pt x="97" y="54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8" name="Freeform 736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307975" cy="309562"/>
              </a:xfrm>
              <a:custGeom>
                <a:avLst/>
                <a:gdLst>
                  <a:gd name="T0" fmla="*/ 0 w 84"/>
                  <a:gd name="T1" fmla="*/ 84 h 84"/>
                  <a:gd name="T2" fmla="*/ 84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84"/>
                    </a:moveTo>
                    <a:cubicBezTo>
                      <a:pt x="46" y="84"/>
                      <a:pt x="84" y="47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99" name="Freeform 737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260350" cy="261937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0" name="Freeform 738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212725" cy="214312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1" name="Freeform 739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165100" cy="166687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2" name="Freeform 740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3" name="Freeform 741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69850" cy="74612"/>
              </a:xfrm>
              <a:custGeom>
                <a:avLst/>
                <a:gdLst>
                  <a:gd name="T0" fmla="*/ 0 w 19"/>
                  <a:gd name="T1" fmla="*/ 20 h 20"/>
                  <a:gd name="T2" fmla="*/ 19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0" y="20"/>
                    </a:moveTo>
                    <a:cubicBezTo>
                      <a:pt x="11" y="20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4" name="Freeform 742"/>
              <p:cNvSpPr>
                <a:spLocks/>
              </p:cNvSpPr>
              <p:nvPr userDrawn="1"/>
            </p:nvSpPr>
            <p:spPr bwMode="auto">
              <a:xfrm>
                <a:off x="4646612" y="3290888"/>
                <a:ext cx="22225" cy="26987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4" y="7"/>
                      <a:pt x="6" y="4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5" name="Freeform 743"/>
              <p:cNvSpPr>
                <a:spLocks/>
              </p:cNvSpPr>
              <p:nvPr userDrawn="1"/>
            </p:nvSpPr>
            <p:spPr bwMode="auto">
              <a:xfrm>
                <a:off x="4646612" y="4262438"/>
                <a:ext cx="969963" cy="971550"/>
              </a:xfrm>
              <a:custGeom>
                <a:avLst/>
                <a:gdLst>
                  <a:gd name="T0" fmla="*/ 0 w 264"/>
                  <a:gd name="T1" fmla="*/ 0 h 264"/>
                  <a:gd name="T2" fmla="*/ 264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0"/>
                    </a:moveTo>
                    <a:cubicBezTo>
                      <a:pt x="0" y="146"/>
                      <a:pt x="118" y="264"/>
                      <a:pt x="264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6" name="Freeform 744"/>
              <p:cNvSpPr>
                <a:spLocks/>
              </p:cNvSpPr>
              <p:nvPr userDrawn="1"/>
            </p:nvSpPr>
            <p:spPr bwMode="auto">
              <a:xfrm>
                <a:off x="4694237" y="4262438"/>
                <a:ext cx="922338" cy="923925"/>
              </a:xfrm>
              <a:custGeom>
                <a:avLst/>
                <a:gdLst>
                  <a:gd name="T0" fmla="*/ 0 w 251"/>
                  <a:gd name="T1" fmla="*/ 0 h 251"/>
                  <a:gd name="T2" fmla="*/ 251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0"/>
                    </a:moveTo>
                    <a:cubicBezTo>
                      <a:pt x="0" y="139"/>
                      <a:pt x="112" y="251"/>
                      <a:pt x="251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7" name="Freeform 745"/>
              <p:cNvSpPr>
                <a:spLocks/>
              </p:cNvSpPr>
              <p:nvPr userDrawn="1"/>
            </p:nvSpPr>
            <p:spPr bwMode="auto">
              <a:xfrm>
                <a:off x="4741862" y="4262438"/>
                <a:ext cx="874713" cy="876300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2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8" name="Freeform 746"/>
              <p:cNvSpPr>
                <a:spLocks/>
              </p:cNvSpPr>
              <p:nvPr userDrawn="1"/>
            </p:nvSpPr>
            <p:spPr bwMode="auto">
              <a:xfrm>
                <a:off x="4789487" y="4262438"/>
                <a:ext cx="827088" cy="828675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5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09" name="Freeform 747"/>
              <p:cNvSpPr>
                <a:spLocks/>
              </p:cNvSpPr>
              <p:nvPr userDrawn="1"/>
            </p:nvSpPr>
            <p:spPr bwMode="auto">
              <a:xfrm>
                <a:off x="4833937" y="4262438"/>
                <a:ext cx="782638" cy="779462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0" name="Freeform 748"/>
              <p:cNvSpPr>
                <a:spLocks/>
              </p:cNvSpPr>
              <p:nvPr userDrawn="1"/>
            </p:nvSpPr>
            <p:spPr bwMode="auto">
              <a:xfrm>
                <a:off x="4881562" y="4262438"/>
                <a:ext cx="735013" cy="736600"/>
              </a:xfrm>
              <a:custGeom>
                <a:avLst/>
                <a:gdLst>
                  <a:gd name="T0" fmla="*/ 0 w 200"/>
                  <a:gd name="T1" fmla="*/ 0 h 200"/>
                  <a:gd name="T2" fmla="*/ 200 w 200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0" y="0"/>
                    </a:moveTo>
                    <a:cubicBezTo>
                      <a:pt x="0" y="110"/>
                      <a:pt x="90" y="200"/>
                      <a:pt x="20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1" name="Freeform 749"/>
              <p:cNvSpPr>
                <a:spLocks/>
              </p:cNvSpPr>
              <p:nvPr userDrawn="1"/>
            </p:nvSpPr>
            <p:spPr bwMode="auto">
              <a:xfrm>
                <a:off x="4929187" y="4262438"/>
                <a:ext cx="687388" cy="687387"/>
              </a:xfrm>
              <a:custGeom>
                <a:avLst/>
                <a:gdLst>
                  <a:gd name="T0" fmla="*/ 0 w 187"/>
                  <a:gd name="T1" fmla="*/ 0 h 187"/>
                  <a:gd name="T2" fmla="*/ 187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0" y="0"/>
                    </a:moveTo>
                    <a:cubicBezTo>
                      <a:pt x="0" y="103"/>
                      <a:pt x="84" y="187"/>
                      <a:pt x="187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2" name="Freeform 750"/>
              <p:cNvSpPr>
                <a:spLocks/>
              </p:cNvSpPr>
              <p:nvPr userDrawn="1"/>
            </p:nvSpPr>
            <p:spPr bwMode="auto">
              <a:xfrm>
                <a:off x="4976812" y="4262438"/>
                <a:ext cx="639763" cy="639762"/>
              </a:xfrm>
              <a:custGeom>
                <a:avLst/>
                <a:gdLst>
                  <a:gd name="T0" fmla="*/ 0 w 174"/>
                  <a:gd name="T1" fmla="*/ 0 h 174"/>
                  <a:gd name="T2" fmla="*/ 174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0"/>
                    </a:moveTo>
                    <a:cubicBezTo>
                      <a:pt x="0" y="96"/>
                      <a:pt x="78" y="174"/>
                      <a:pt x="174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3" name="Freeform 751"/>
              <p:cNvSpPr>
                <a:spLocks/>
              </p:cNvSpPr>
              <p:nvPr userDrawn="1"/>
            </p:nvSpPr>
            <p:spPr bwMode="auto">
              <a:xfrm>
                <a:off x="5024437" y="4262438"/>
                <a:ext cx="592138" cy="592137"/>
              </a:xfrm>
              <a:custGeom>
                <a:avLst/>
                <a:gdLst>
                  <a:gd name="T0" fmla="*/ 0 w 161"/>
                  <a:gd name="T1" fmla="*/ 0 h 161"/>
                  <a:gd name="T2" fmla="*/ 161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0"/>
                    </a:moveTo>
                    <a:cubicBezTo>
                      <a:pt x="0" y="89"/>
                      <a:pt x="72" y="161"/>
                      <a:pt x="161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4" name="Freeform 752"/>
              <p:cNvSpPr>
                <a:spLocks/>
              </p:cNvSpPr>
              <p:nvPr userDrawn="1"/>
            </p:nvSpPr>
            <p:spPr bwMode="auto">
              <a:xfrm>
                <a:off x="5072062" y="4262438"/>
                <a:ext cx="544513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2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5" name="Freeform 753"/>
              <p:cNvSpPr>
                <a:spLocks/>
              </p:cNvSpPr>
              <p:nvPr userDrawn="1"/>
            </p:nvSpPr>
            <p:spPr bwMode="auto">
              <a:xfrm>
                <a:off x="5121275" y="42624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5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6" name="Freeform 754"/>
              <p:cNvSpPr>
                <a:spLocks/>
              </p:cNvSpPr>
              <p:nvPr userDrawn="1"/>
            </p:nvSpPr>
            <p:spPr bwMode="auto">
              <a:xfrm>
                <a:off x="5168900" y="4262438"/>
                <a:ext cx="447675" cy="449262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8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7" name="Freeform 755"/>
              <p:cNvSpPr>
                <a:spLocks/>
              </p:cNvSpPr>
              <p:nvPr userDrawn="1"/>
            </p:nvSpPr>
            <p:spPr bwMode="auto">
              <a:xfrm>
                <a:off x="5211762" y="4262438"/>
                <a:ext cx="404813" cy="401637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1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8" name="Freeform 756"/>
              <p:cNvSpPr>
                <a:spLocks/>
              </p:cNvSpPr>
              <p:nvPr userDrawn="1"/>
            </p:nvSpPr>
            <p:spPr bwMode="auto">
              <a:xfrm>
                <a:off x="5260975" y="4262438"/>
                <a:ext cx="355600" cy="357187"/>
              </a:xfrm>
              <a:custGeom>
                <a:avLst/>
                <a:gdLst>
                  <a:gd name="T0" fmla="*/ 0 w 97"/>
                  <a:gd name="T1" fmla="*/ 0 h 97"/>
                  <a:gd name="T2" fmla="*/ 97 w 97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0" y="0"/>
                    </a:moveTo>
                    <a:cubicBezTo>
                      <a:pt x="0" y="53"/>
                      <a:pt x="43" y="97"/>
                      <a:pt x="97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19" name="Freeform 757"/>
              <p:cNvSpPr>
                <a:spLocks/>
              </p:cNvSpPr>
              <p:nvPr userDrawn="1"/>
            </p:nvSpPr>
            <p:spPr bwMode="auto">
              <a:xfrm>
                <a:off x="5308600" y="4262438"/>
                <a:ext cx="307975" cy="309562"/>
              </a:xfrm>
              <a:custGeom>
                <a:avLst/>
                <a:gdLst>
                  <a:gd name="T0" fmla="*/ 0 w 84"/>
                  <a:gd name="T1" fmla="*/ 0 h 84"/>
                  <a:gd name="T2" fmla="*/ 84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0" y="0"/>
                    </a:moveTo>
                    <a:cubicBezTo>
                      <a:pt x="0" y="46"/>
                      <a:pt x="38" y="84"/>
                      <a:pt x="84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0" name="Freeform 758"/>
              <p:cNvSpPr>
                <a:spLocks/>
              </p:cNvSpPr>
              <p:nvPr userDrawn="1"/>
            </p:nvSpPr>
            <p:spPr bwMode="auto">
              <a:xfrm>
                <a:off x="5356225" y="4262438"/>
                <a:ext cx="260350" cy="261937"/>
              </a:xfrm>
              <a:custGeom>
                <a:avLst/>
                <a:gdLst>
                  <a:gd name="T0" fmla="*/ 0 w 71"/>
                  <a:gd name="T1" fmla="*/ 0 h 71"/>
                  <a:gd name="T2" fmla="*/ 71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0" y="39"/>
                      <a:pt x="32" y="71"/>
                      <a:pt x="71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1" name="Freeform 759"/>
              <p:cNvSpPr>
                <a:spLocks/>
              </p:cNvSpPr>
              <p:nvPr userDrawn="1"/>
            </p:nvSpPr>
            <p:spPr bwMode="auto">
              <a:xfrm>
                <a:off x="5403850" y="4262438"/>
                <a:ext cx="212725" cy="214312"/>
              </a:xfrm>
              <a:custGeom>
                <a:avLst/>
                <a:gdLst>
                  <a:gd name="T0" fmla="*/ 0 w 58"/>
                  <a:gd name="T1" fmla="*/ 0 h 58"/>
                  <a:gd name="T2" fmla="*/ 58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0"/>
                    </a:moveTo>
                    <a:cubicBezTo>
                      <a:pt x="0" y="32"/>
                      <a:pt x="26" y="58"/>
                      <a:pt x="58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2" name="Freeform 760"/>
              <p:cNvSpPr>
                <a:spLocks/>
              </p:cNvSpPr>
              <p:nvPr userDrawn="1"/>
            </p:nvSpPr>
            <p:spPr bwMode="auto">
              <a:xfrm>
                <a:off x="5451475" y="42624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5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3" name="Freeform 761"/>
              <p:cNvSpPr>
                <a:spLocks/>
              </p:cNvSpPr>
              <p:nvPr userDrawn="1"/>
            </p:nvSpPr>
            <p:spPr bwMode="auto">
              <a:xfrm>
                <a:off x="5499100" y="42624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8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4" name="Freeform 762"/>
              <p:cNvSpPr>
                <a:spLocks/>
              </p:cNvSpPr>
              <p:nvPr userDrawn="1"/>
            </p:nvSpPr>
            <p:spPr bwMode="auto">
              <a:xfrm>
                <a:off x="5543550" y="4262438"/>
                <a:ext cx="73025" cy="69850"/>
              </a:xfrm>
              <a:custGeom>
                <a:avLst/>
                <a:gdLst>
                  <a:gd name="T0" fmla="*/ 0 w 20"/>
                  <a:gd name="T1" fmla="*/ 0 h 19"/>
                  <a:gd name="T2" fmla="*/ 20 w 20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0" y="0"/>
                    </a:moveTo>
                    <a:cubicBezTo>
                      <a:pt x="0" y="11"/>
                      <a:pt x="9" y="19"/>
                      <a:pt x="2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5" name="Freeform 763"/>
              <p:cNvSpPr>
                <a:spLocks/>
              </p:cNvSpPr>
              <p:nvPr userDrawn="1"/>
            </p:nvSpPr>
            <p:spPr bwMode="auto">
              <a:xfrm>
                <a:off x="5591175" y="4262438"/>
                <a:ext cx="25400" cy="25400"/>
              </a:xfrm>
              <a:custGeom>
                <a:avLst/>
                <a:gdLst>
                  <a:gd name="T0" fmla="*/ 0 w 7"/>
                  <a:gd name="T1" fmla="*/ 0 h 7"/>
                  <a:gd name="T2" fmla="*/ 7 w 7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0" y="0"/>
                    </a:moveTo>
                    <a:cubicBezTo>
                      <a:pt x="0" y="4"/>
                      <a:pt x="3" y="7"/>
                      <a:pt x="7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6" name="Freeform 764"/>
              <p:cNvSpPr>
                <a:spLocks/>
              </p:cNvSpPr>
              <p:nvPr userDrawn="1"/>
            </p:nvSpPr>
            <p:spPr bwMode="auto">
              <a:xfrm>
                <a:off x="5616575" y="4262438"/>
                <a:ext cx="969963" cy="971550"/>
              </a:xfrm>
              <a:custGeom>
                <a:avLst/>
                <a:gdLst>
                  <a:gd name="T0" fmla="*/ 264 w 264"/>
                  <a:gd name="T1" fmla="*/ 0 h 264"/>
                  <a:gd name="T2" fmla="*/ 0 w 264"/>
                  <a:gd name="T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0"/>
                    </a:moveTo>
                    <a:cubicBezTo>
                      <a:pt x="118" y="0"/>
                      <a:pt x="0" y="118"/>
                      <a:pt x="0" y="26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7" name="Freeform 765"/>
              <p:cNvSpPr>
                <a:spLocks/>
              </p:cNvSpPr>
              <p:nvPr userDrawn="1"/>
            </p:nvSpPr>
            <p:spPr bwMode="auto">
              <a:xfrm>
                <a:off x="5664200" y="4310063"/>
                <a:ext cx="922338" cy="923925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2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8" name="Freeform 766"/>
              <p:cNvSpPr>
                <a:spLocks/>
              </p:cNvSpPr>
              <p:nvPr userDrawn="1"/>
            </p:nvSpPr>
            <p:spPr bwMode="auto">
              <a:xfrm>
                <a:off x="5708650" y="4357688"/>
                <a:ext cx="877888" cy="876300"/>
              </a:xfrm>
              <a:custGeom>
                <a:avLst/>
                <a:gdLst>
                  <a:gd name="T0" fmla="*/ 239 w 239"/>
                  <a:gd name="T1" fmla="*/ 0 h 238"/>
                  <a:gd name="T2" fmla="*/ 0 w 239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9" h="238">
                    <a:moveTo>
                      <a:pt x="239" y="0"/>
                    </a:moveTo>
                    <a:cubicBezTo>
                      <a:pt x="107" y="0"/>
                      <a:pt x="0" y="106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29" name="Freeform 767"/>
              <p:cNvSpPr>
                <a:spLocks/>
              </p:cNvSpPr>
              <p:nvPr userDrawn="1"/>
            </p:nvSpPr>
            <p:spPr bwMode="auto">
              <a:xfrm>
                <a:off x="5756275" y="4405313"/>
                <a:ext cx="830263" cy="828675"/>
              </a:xfrm>
              <a:custGeom>
                <a:avLst/>
                <a:gdLst>
                  <a:gd name="T0" fmla="*/ 226 w 226"/>
                  <a:gd name="T1" fmla="*/ 0 h 225"/>
                  <a:gd name="T2" fmla="*/ 0 w 226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6" h="225">
                    <a:moveTo>
                      <a:pt x="226" y="0"/>
                    </a:moveTo>
                    <a:cubicBezTo>
                      <a:pt x="101" y="0"/>
                      <a:pt x="0" y="100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0" name="Freeform 768"/>
              <p:cNvSpPr>
                <a:spLocks/>
              </p:cNvSpPr>
              <p:nvPr userDrawn="1"/>
            </p:nvSpPr>
            <p:spPr bwMode="auto">
              <a:xfrm>
                <a:off x="5803900" y="4454525"/>
                <a:ext cx="782638" cy="779462"/>
              </a:xfrm>
              <a:custGeom>
                <a:avLst/>
                <a:gdLst>
                  <a:gd name="T0" fmla="*/ 213 w 213"/>
                  <a:gd name="T1" fmla="*/ 0 h 212"/>
                  <a:gd name="T2" fmla="*/ 0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213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1" name="Freeform 769"/>
              <p:cNvSpPr>
                <a:spLocks/>
              </p:cNvSpPr>
              <p:nvPr userDrawn="1"/>
            </p:nvSpPr>
            <p:spPr bwMode="auto">
              <a:xfrm>
                <a:off x="5851525" y="4497388"/>
                <a:ext cx="735013" cy="736600"/>
              </a:xfrm>
              <a:custGeom>
                <a:avLst/>
                <a:gdLst>
                  <a:gd name="T0" fmla="*/ 200 w 200"/>
                  <a:gd name="T1" fmla="*/ 0 h 200"/>
                  <a:gd name="T2" fmla="*/ 0 w 200"/>
                  <a:gd name="T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200" y="0"/>
                    </a:moveTo>
                    <a:cubicBezTo>
                      <a:pt x="89" y="0"/>
                      <a:pt x="0" y="90"/>
                      <a:pt x="0" y="20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2" name="Freeform 770"/>
              <p:cNvSpPr>
                <a:spLocks/>
              </p:cNvSpPr>
              <p:nvPr userDrawn="1"/>
            </p:nvSpPr>
            <p:spPr bwMode="auto">
              <a:xfrm>
                <a:off x="5899150" y="4546600"/>
                <a:ext cx="687388" cy="687387"/>
              </a:xfrm>
              <a:custGeom>
                <a:avLst/>
                <a:gdLst>
                  <a:gd name="T0" fmla="*/ 187 w 187"/>
                  <a:gd name="T1" fmla="*/ 0 h 187"/>
                  <a:gd name="T2" fmla="*/ 0 w 187"/>
                  <a:gd name="T3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0"/>
                    </a:moveTo>
                    <a:cubicBezTo>
                      <a:pt x="83" y="0"/>
                      <a:pt x="0" y="84"/>
                      <a:pt x="0" y="18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3" name="Freeform 771"/>
              <p:cNvSpPr>
                <a:spLocks/>
              </p:cNvSpPr>
              <p:nvPr userDrawn="1"/>
            </p:nvSpPr>
            <p:spPr bwMode="auto">
              <a:xfrm>
                <a:off x="5946775" y="4594225"/>
                <a:ext cx="639763" cy="639762"/>
              </a:xfrm>
              <a:custGeom>
                <a:avLst/>
                <a:gdLst>
                  <a:gd name="T0" fmla="*/ 174 w 174"/>
                  <a:gd name="T1" fmla="*/ 0 h 174"/>
                  <a:gd name="T2" fmla="*/ 0 w 174"/>
                  <a:gd name="T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4" name="Freeform 772"/>
              <p:cNvSpPr>
                <a:spLocks/>
              </p:cNvSpPr>
              <p:nvPr userDrawn="1"/>
            </p:nvSpPr>
            <p:spPr bwMode="auto">
              <a:xfrm>
                <a:off x="5995987" y="4641850"/>
                <a:ext cx="590550" cy="592137"/>
              </a:xfrm>
              <a:custGeom>
                <a:avLst/>
                <a:gdLst>
                  <a:gd name="T0" fmla="*/ 161 w 161"/>
                  <a:gd name="T1" fmla="*/ 0 h 161"/>
                  <a:gd name="T2" fmla="*/ 0 w 161"/>
                  <a:gd name="T3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0"/>
                    </a:moveTo>
                    <a:cubicBezTo>
                      <a:pt x="72" y="0"/>
                      <a:pt x="0" y="72"/>
                      <a:pt x="0" y="16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5" name="Freeform 773"/>
              <p:cNvSpPr>
                <a:spLocks/>
              </p:cNvSpPr>
              <p:nvPr userDrawn="1"/>
            </p:nvSpPr>
            <p:spPr bwMode="auto">
              <a:xfrm>
                <a:off x="6043612" y="4689475"/>
                <a:ext cx="542925" cy="544512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6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6" name="Freeform 774"/>
              <p:cNvSpPr>
                <a:spLocks/>
              </p:cNvSpPr>
              <p:nvPr userDrawn="1"/>
            </p:nvSpPr>
            <p:spPr bwMode="auto">
              <a:xfrm>
                <a:off x="6086475" y="4737100"/>
                <a:ext cx="500063" cy="496887"/>
              </a:xfrm>
              <a:custGeom>
                <a:avLst/>
                <a:gdLst>
                  <a:gd name="T0" fmla="*/ 136 w 136"/>
                  <a:gd name="T1" fmla="*/ 0 h 135"/>
                  <a:gd name="T2" fmla="*/ 0 w 136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6" h="135">
                    <a:moveTo>
                      <a:pt x="136" y="0"/>
                    </a:moveTo>
                    <a:cubicBezTo>
                      <a:pt x="61" y="0"/>
                      <a:pt x="0" y="60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7" name="Freeform 775"/>
              <p:cNvSpPr>
                <a:spLocks/>
              </p:cNvSpPr>
              <p:nvPr userDrawn="1"/>
            </p:nvSpPr>
            <p:spPr bwMode="auto">
              <a:xfrm>
                <a:off x="6135687" y="4784725"/>
                <a:ext cx="450850" cy="449262"/>
              </a:xfrm>
              <a:custGeom>
                <a:avLst/>
                <a:gdLst>
                  <a:gd name="T0" fmla="*/ 123 w 123"/>
                  <a:gd name="T1" fmla="*/ 0 h 122"/>
                  <a:gd name="T2" fmla="*/ 0 w 123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3" h="122">
                    <a:moveTo>
                      <a:pt x="123" y="0"/>
                    </a:moveTo>
                    <a:cubicBezTo>
                      <a:pt x="55" y="0"/>
                      <a:pt x="0" y="54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8" name="Freeform 776"/>
              <p:cNvSpPr>
                <a:spLocks/>
              </p:cNvSpPr>
              <p:nvPr userDrawn="1"/>
            </p:nvSpPr>
            <p:spPr bwMode="auto">
              <a:xfrm>
                <a:off x="6183312" y="4829175"/>
                <a:ext cx="403225" cy="404812"/>
              </a:xfrm>
              <a:custGeom>
                <a:avLst/>
                <a:gdLst>
                  <a:gd name="T0" fmla="*/ 110 w 110"/>
                  <a:gd name="T1" fmla="*/ 0 h 110"/>
                  <a:gd name="T2" fmla="*/ 0 w 110"/>
                  <a:gd name="T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10">
                    <a:moveTo>
                      <a:pt x="110" y="0"/>
                    </a:moveTo>
                    <a:cubicBezTo>
                      <a:pt x="49" y="0"/>
                      <a:pt x="0" y="49"/>
                      <a:pt x="0" y="11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39" name="Freeform 777"/>
              <p:cNvSpPr>
                <a:spLocks/>
              </p:cNvSpPr>
              <p:nvPr userDrawn="1"/>
            </p:nvSpPr>
            <p:spPr bwMode="auto">
              <a:xfrm>
                <a:off x="6230937" y="4876800"/>
                <a:ext cx="355600" cy="357187"/>
              </a:xfrm>
              <a:custGeom>
                <a:avLst/>
                <a:gdLst>
                  <a:gd name="T0" fmla="*/ 97 w 97"/>
                  <a:gd name="T1" fmla="*/ 0 h 97"/>
                  <a:gd name="T2" fmla="*/ 0 w 97"/>
                  <a:gd name="T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97" y="0"/>
                    </a:moveTo>
                    <a:cubicBezTo>
                      <a:pt x="43" y="0"/>
                      <a:pt x="0" y="44"/>
                      <a:pt x="0" y="9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0" name="Freeform 778"/>
              <p:cNvSpPr>
                <a:spLocks/>
              </p:cNvSpPr>
              <p:nvPr userDrawn="1"/>
            </p:nvSpPr>
            <p:spPr bwMode="auto">
              <a:xfrm>
                <a:off x="6278562" y="4924425"/>
                <a:ext cx="307975" cy="309562"/>
              </a:xfrm>
              <a:custGeom>
                <a:avLst/>
                <a:gdLst>
                  <a:gd name="T0" fmla="*/ 84 w 84"/>
                  <a:gd name="T1" fmla="*/ 0 h 84"/>
                  <a:gd name="T2" fmla="*/ 0 w 8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cubicBezTo>
                      <a:pt x="37" y="0"/>
                      <a:pt x="0" y="38"/>
                      <a:pt x="0" y="84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1" name="Freeform 779"/>
              <p:cNvSpPr>
                <a:spLocks/>
              </p:cNvSpPr>
              <p:nvPr userDrawn="1"/>
            </p:nvSpPr>
            <p:spPr bwMode="auto">
              <a:xfrm>
                <a:off x="6326187" y="4972050"/>
                <a:ext cx="260350" cy="261937"/>
              </a:xfrm>
              <a:custGeom>
                <a:avLst/>
                <a:gdLst>
                  <a:gd name="T0" fmla="*/ 71 w 71"/>
                  <a:gd name="T1" fmla="*/ 0 h 71"/>
                  <a:gd name="T2" fmla="*/ 0 w 71"/>
                  <a:gd name="T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31" y="0"/>
                      <a:pt x="0" y="32"/>
                      <a:pt x="0" y="7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2" name="Freeform 780"/>
              <p:cNvSpPr>
                <a:spLocks/>
              </p:cNvSpPr>
              <p:nvPr userDrawn="1"/>
            </p:nvSpPr>
            <p:spPr bwMode="auto">
              <a:xfrm>
                <a:off x="6373812" y="5021263"/>
                <a:ext cx="212725" cy="212725"/>
              </a:xfrm>
              <a:custGeom>
                <a:avLst/>
                <a:gdLst>
                  <a:gd name="T0" fmla="*/ 58 w 58"/>
                  <a:gd name="T1" fmla="*/ 0 h 58"/>
                  <a:gd name="T2" fmla="*/ 0 w 58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0"/>
                    </a:moveTo>
                    <a:cubicBezTo>
                      <a:pt x="26" y="0"/>
                      <a:pt x="0" y="26"/>
                      <a:pt x="0" y="5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3" name="Freeform 781"/>
              <p:cNvSpPr>
                <a:spLocks/>
              </p:cNvSpPr>
              <p:nvPr userDrawn="1"/>
            </p:nvSpPr>
            <p:spPr bwMode="auto">
              <a:xfrm>
                <a:off x="6418262" y="5068888"/>
                <a:ext cx="168275" cy="165100"/>
              </a:xfrm>
              <a:custGeom>
                <a:avLst/>
                <a:gdLst>
                  <a:gd name="T0" fmla="*/ 46 w 46"/>
                  <a:gd name="T1" fmla="*/ 0 h 45"/>
                  <a:gd name="T2" fmla="*/ 0 w 46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5">
                    <a:moveTo>
                      <a:pt x="46" y="0"/>
                    </a:moveTo>
                    <a:cubicBezTo>
                      <a:pt x="21" y="0"/>
                      <a:pt x="0" y="20"/>
                      <a:pt x="0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4" name="Freeform 782"/>
              <p:cNvSpPr>
                <a:spLocks/>
              </p:cNvSpPr>
              <p:nvPr userDrawn="1"/>
            </p:nvSpPr>
            <p:spPr bwMode="auto">
              <a:xfrm>
                <a:off x="6465887" y="5116513"/>
                <a:ext cx="120650" cy="117475"/>
              </a:xfrm>
              <a:custGeom>
                <a:avLst/>
                <a:gdLst>
                  <a:gd name="T0" fmla="*/ 33 w 33"/>
                  <a:gd name="T1" fmla="*/ 0 h 32"/>
                  <a:gd name="T2" fmla="*/ 0 w 33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3" h="32">
                    <a:moveTo>
                      <a:pt x="33" y="0"/>
                    </a:moveTo>
                    <a:cubicBezTo>
                      <a:pt x="15" y="0"/>
                      <a:pt x="0" y="14"/>
                      <a:pt x="0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5" name="Freeform 783"/>
              <p:cNvSpPr>
                <a:spLocks/>
              </p:cNvSpPr>
              <p:nvPr userDrawn="1"/>
            </p:nvSpPr>
            <p:spPr bwMode="auto">
              <a:xfrm>
                <a:off x="6513512" y="5164138"/>
                <a:ext cx="73025" cy="69850"/>
              </a:xfrm>
              <a:custGeom>
                <a:avLst/>
                <a:gdLst>
                  <a:gd name="T0" fmla="*/ 20 w 20"/>
                  <a:gd name="T1" fmla="*/ 0 h 19"/>
                  <a:gd name="T2" fmla="*/ 0 w 20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20" y="0"/>
                    </a:moveTo>
                    <a:cubicBezTo>
                      <a:pt x="9" y="0"/>
                      <a:pt x="0" y="8"/>
                      <a:pt x="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6" name="Freeform 784"/>
              <p:cNvSpPr>
                <a:spLocks/>
              </p:cNvSpPr>
              <p:nvPr userDrawn="1"/>
            </p:nvSpPr>
            <p:spPr bwMode="auto">
              <a:xfrm>
                <a:off x="6561137" y="5208588"/>
                <a:ext cx="25400" cy="25400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cubicBezTo>
                      <a:pt x="3" y="0"/>
                      <a:pt x="0" y="3"/>
                      <a:pt x="0" y="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7" name="Freeform 785"/>
              <p:cNvSpPr>
                <a:spLocks/>
              </p:cNvSpPr>
              <p:nvPr userDrawn="1"/>
            </p:nvSpPr>
            <p:spPr bwMode="auto">
              <a:xfrm>
                <a:off x="4646612" y="6205538"/>
                <a:ext cx="969963" cy="966787"/>
              </a:xfrm>
              <a:custGeom>
                <a:avLst/>
                <a:gdLst>
                  <a:gd name="T0" fmla="*/ 0 w 264"/>
                  <a:gd name="T1" fmla="*/ 0 h 263"/>
                  <a:gd name="T2" fmla="*/ 264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0" y="0"/>
                    </a:moveTo>
                    <a:cubicBezTo>
                      <a:pt x="0" y="145"/>
                      <a:pt x="118" y="263"/>
                      <a:pt x="264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8" name="Freeform 786"/>
              <p:cNvSpPr>
                <a:spLocks/>
              </p:cNvSpPr>
              <p:nvPr userDrawn="1"/>
            </p:nvSpPr>
            <p:spPr bwMode="auto">
              <a:xfrm>
                <a:off x="4694237" y="6205538"/>
                <a:ext cx="922338" cy="919162"/>
              </a:xfrm>
              <a:custGeom>
                <a:avLst/>
                <a:gdLst>
                  <a:gd name="T0" fmla="*/ 0 w 251"/>
                  <a:gd name="T1" fmla="*/ 0 h 250"/>
                  <a:gd name="T2" fmla="*/ 251 w 251"/>
                  <a:gd name="T3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0">
                    <a:moveTo>
                      <a:pt x="0" y="0"/>
                    </a:moveTo>
                    <a:cubicBezTo>
                      <a:pt x="0" y="138"/>
                      <a:pt x="112" y="250"/>
                      <a:pt x="251" y="25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49" name="Freeform 787"/>
              <p:cNvSpPr>
                <a:spLocks/>
              </p:cNvSpPr>
              <p:nvPr userDrawn="1"/>
            </p:nvSpPr>
            <p:spPr bwMode="auto">
              <a:xfrm>
                <a:off x="4741862" y="6205538"/>
                <a:ext cx="874713" cy="874712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1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0" name="Freeform 788"/>
              <p:cNvSpPr>
                <a:spLocks/>
              </p:cNvSpPr>
              <p:nvPr userDrawn="1"/>
            </p:nvSpPr>
            <p:spPr bwMode="auto">
              <a:xfrm>
                <a:off x="4789487" y="6205538"/>
                <a:ext cx="827088" cy="827087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4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1" name="Freeform 789"/>
              <p:cNvSpPr>
                <a:spLocks/>
              </p:cNvSpPr>
              <p:nvPr userDrawn="1"/>
            </p:nvSpPr>
            <p:spPr bwMode="auto">
              <a:xfrm>
                <a:off x="4833937" y="6205538"/>
                <a:ext cx="782638" cy="779462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2" name="Freeform 790"/>
              <p:cNvSpPr>
                <a:spLocks/>
              </p:cNvSpPr>
              <p:nvPr userDrawn="1"/>
            </p:nvSpPr>
            <p:spPr bwMode="auto">
              <a:xfrm>
                <a:off x="4881562" y="6205538"/>
                <a:ext cx="735013" cy="731837"/>
              </a:xfrm>
              <a:custGeom>
                <a:avLst/>
                <a:gdLst>
                  <a:gd name="T0" fmla="*/ 0 w 200"/>
                  <a:gd name="T1" fmla="*/ 0 h 199"/>
                  <a:gd name="T2" fmla="*/ 200 w 200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0" y="0"/>
                    </a:moveTo>
                    <a:cubicBezTo>
                      <a:pt x="0" y="110"/>
                      <a:pt x="90" y="199"/>
                      <a:pt x="20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3" name="Freeform 791"/>
              <p:cNvSpPr>
                <a:spLocks/>
              </p:cNvSpPr>
              <p:nvPr userDrawn="1"/>
            </p:nvSpPr>
            <p:spPr bwMode="auto">
              <a:xfrm>
                <a:off x="4929187" y="6205538"/>
                <a:ext cx="687388" cy="684212"/>
              </a:xfrm>
              <a:custGeom>
                <a:avLst/>
                <a:gdLst>
                  <a:gd name="T0" fmla="*/ 0 w 187"/>
                  <a:gd name="T1" fmla="*/ 0 h 186"/>
                  <a:gd name="T2" fmla="*/ 187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0"/>
                    </a:moveTo>
                    <a:cubicBezTo>
                      <a:pt x="0" y="103"/>
                      <a:pt x="84" y="186"/>
                      <a:pt x="187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4" name="Freeform 792"/>
              <p:cNvSpPr>
                <a:spLocks/>
              </p:cNvSpPr>
              <p:nvPr userDrawn="1"/>
            </p:nvSpPr>
            <p:spPr bwMode="auto">
              <a:xfrm>
                <a:off x="4976812" y="6205538"/>
                <a:ext cx="639763" cy="636587"/>
              </a:xfrm>
              <a:custGeom>
                <a:avLst/>
                <a:gdLst>
                  <a:gd name="T0" fmla="*/ 0 w 174"/>
                  <a:gd name="T1" fmla="*/ 0 h 173"/>
                  <a:gd name="T2" fmla="*/ 174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0" y="0"/>
                    </a:moveTo>
                    <a:cubicBezTo>
                      <a:pt x="0" y="96"/>
                      <a:pt x="78" y="173"/>
                      <a:pt x="174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5" name="Freeform 793"/>
              <p:cNvSpPr>
                <a:spLocks/>
              </p:cNvSpPr>
              <p:nvPr userDrawn="1"/>
            </p:nvSpPr>
            <p:spPr bwMode="auto">
              <a:xfrm>
                <a:off x="5024437" y="6205538"/>
                <a:ext cx="592138" cy="588962"/>
              </a:xfrm>
              <a:custGeom>
                <a:avLst/>
                <a:gdLst>
                  <a:gd name="T0" fmla="*/ 0 w 161"/>
                  <a:gd name="T1" fmla="*/ 0 h 160"/>
                  <a:gd name="T2" fmla="*/ 161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0" y="0"/>
                    </a:moveTo>
                    <a:cubicBezTo>
                      <a:pt x="0" y="88"/>
                      <a:pt x="72" y="160"/>
                      <a:pt x="161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6" name="Freeform 794"/>
              <p:cNvSpPr>
                <a:spLocks/>
              </p:cNvSpPr>
              <p:nvPr userDrawn="1"/>
            </p:nvSpPr>
            <p:spPr bwMode="auto">
              <a:xfrm>
                <a:off x="5072062" y="6205538"/>
                <a:ext cx="544513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1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7" name="Freeform 795"/>
              <p:cNvSpPr>
                <a:spLocks/>
              </p:cNvSpPr>
              <p:nvPr userDrawn="1"/>
            </p:nvSpPr>
            <p:spPr bwMode="auto">
              <a:xfrm>
                <a:off x="5121275" y="62055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4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8" name="Freeform 796"/>
              <p:cNvSpPr>
                <a:spLocks/>
              </p:cNvSpPr>
              <p:nvPr userDrawn="1"/>
            </p:nvSpPr>
            <p:spPr bwMode="auto">
              <a:xfrm>
                <a:off x="5168900" y="6205538"/>
                <a:ext cx="447675" cy="447675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7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59" name="Freeform 797"/>
              <p:cNvSpPr>
                <a:spLocks/>
              </p:cNvSpPr>
              <p:nvPr userDrawn="1"/>
            </p:nvSpPr>
            <p:spPr bwMode="auto">
              <a:xfrm>
                <a:off x="5211762" y="6205538"/>
                <a:ext cx="404813" cy="400050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0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0" name="Freeform 798"/>
              <p:cNvSpPr>
                <a:spLocks/>
              </p:cNvSpPr>
              <p:nvPr userDrawn="1"/>
            </p:nvSpPr>
            <p:spPr bwMode="auto">
              <a:xfrm>
                <a:off x="5260975" y="6205538"/>
                <a:ext cx="355600" cy="352425"/>
              </a:xfrm>
              <a:custGeom>
                <a:avLst/>
                <a:gdLst>
                  <a:gd name="T0" fmla="*/ 0 w 97"/>
                  <a:gd name="T1" fmla="*/ 0 h 96"/>
                  <a:gd name="T2" fmla="*/ 97 w 97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0"/>
                    </a:moveTo>
                    <a:cubicBezTo>
                      <a:pt x="0" y="53"/>
                      <a:pt x="43" y="96"/>
                      <a:pt x="97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1" name="Freeform 799"/>
              <p:cNvSpPr>
                <a:spLocks/>
              </p:cNvSpPr>
              <p:nvPr userDrawn="1"/>
            </p:nvSpPr>
            <p:spPr bwMode="auto">
              <a:xfrm>
                <a:off x="5308600" y="6205538"/>
                <a:ext cx="307975" cy="304800"/>
              </a:xfrm>
              <a:custGeom>
                <a:avLst/>
                <a:gdLst>
                  <a:gd name="T0" fmla="*/ 0 w 84"/>
                  <a:gd name="T1" fmla="*/ 0 h 83"/>
                  <a:gd name="T2" fmla="*/ 84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0"/>
                    </a:moveTo>
                    <a:cubicBezTo>
                      <a:pt x="0" y="46"/>
                      <a:pt x="38" y="83"/>
                      <a:pt x="84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2" name="Freeform 800"/>
              <p:cNvSpPr>
                <a:spLocks/>
              </p:cNvSpPr>
              <p:nvPr userDrawn="1"/>
            </p:nvSpPr>
            <p:spPr bwMode="auto">
              <a:xfrm>
                <a:off x="5356225" y="6205538"/>
                <a:ext cx="260350" cy="257175"/>
              </a:xfrm>
              <a:custGeom>
                <a:avLst/>
                <a:gdLst>
                  <a:gd name="T0" fmla="*/ 0 w 71"/>
                  <a:gd name="T1" fmla="*/ 0 h 70"/>
                  <a:gd name="T2" fmla="*/ 71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0" y="0"/>
                    </a:moveTo>
                    <a:cubicBezTo>
                      <a:pt x="0" y="39"/>
                      <a:pt x="32" y="70"/>
                      <a:pt x="71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3" name="Freeform 801"/>
              <p:cNvSpPr>
                <a:spLocks/>
              </p:cNvSpPr>
              <p:nvPr userDrawn="1"/>
            </p:nvSpPr>
            <p:spPr bwMode="auto">
              <a:xfrm>
                <a:off x="5403850" y="6205538"/>
                <a:ext cx="212725" cy="209550"/>
              </a:xfrm>
              <a:custGeom>
                <a:avLst/>
                <a:gdLst>
                  <a:gd name="T0" fmla="*/ 0 w 58"/>
                  <a:gd name="T1" fmla="*/ 0 h 57"/>
                  <a:gd name="T2" fmla="*/ 58 w 58"/>
                  <a:gd name="T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7">
                    <a:moveTo>
                      <a:pt x="0" y="0"/>
                    </a:moveTo>
                    <a:cubicBezTo>
                      <a:pt x="0" y="32"/>
                      <a:pt x="26" y="57"/>
                      <a:pt x="58" y="5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4" name="Freeform 802"/>
              <p:cNvSpPr>
                <a:spLocks/>
              </p:cNvSpPr>
              <p:nvPr userDrawn="1"/>
            </p:nvSpPr>
            <p:spPr bwMode="auto">
              <a:xfrm>
                <a:off x="5451475" y="62055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4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5" name="Freeform 803"/>
              <p:cNvSpPr>
                <a:spLocks/>
              </p:cNvSpPr>
              <p:nvPr userDrawn="1"/>
            </p:nvSpPr>
            <p:spPr bwMode="auto">
              <a:xfrm>
                <a:off x="5499100" y="62055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7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6" name="Freeform 804"/>
              <p:cNvSpPr>
                <a:spLocks/>
              </p:cNvSpPr>
              <p:nvPr userDrawn="1"/>
            </p:nvSpPr>
            <p:spPr bwMode="auto">
              <a:xfrm>
                <a:off x="5543550" y="6205538"/>
                <a:ext cx="73025" cy="69850"/>
              </a:xfrm>
              <a:custGeom>
                <a:avLst/>
                <a:gdLst>
                  <a:gd name="T0" fmla="*/ 0 w 20"/>
                  <a:gd name="T1" fmla="*/ 0 h 19"/>
                  <a:gd name="T2" fmla="*/ 20 w 20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19">
                    <a:moveTo>
                      <a:pt x="0" y="0"/>
                    </a:moveTo>
                    <a:cubicBezTo>
                      <a:pt x="0" y="10"/>
                      <a:pt x="9" y="19"/>
                      <a:pt x="20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7" name="Freeform 805"/>
              <p:cNvSpPr>
                <a:spLocks/>
              </p:cNvSpPr>
              <p:nvPr userDrawn="1"/>
            </p:nvSpPr>
            <p:spPr bwMode="auto">
              <a:xfrm>
                <a:off x="5591175" y="6205538"/>
                <a:ext cx="25400" cy="22225"/>
              </a:xfrm>
              <a:custGeom>
                <a:avLst/>
                <a:gdLst>
                  <a:gd name="T0" fmla="*/ 0 w 7"/>
                  <a:gd name="T1" fmla="*/ 0 h 6"/>
                  <a:gd name="T2" fmla="*/ 7 w 7"/>
                  <a:gd name="T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0" y="3"/>
                      <a:pt x="3" y="6"/>
                      <a:pt x="7" y="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8" name="Freeform 806"/>
              <p:cNvSpPr>
                <a:spLocks/>
              </p:cNvSpPr>
              <p:nvPr userDrawn="1"/>
            </p:nvSpPr>
            <p:spPr bwMode="auto">
              <a:xfrm>
                <a:off x="5616575" y="6205538"/>
                <a:ext cx="969963" cy="966787"/>
              </a:xfrm>
              <a:custGeom>
                <a:avLst/>
                <a:gdLst>
                  <a:gd name="T0" fmla="*/ 264 w 264"/>
                  <a:gd name="T1" fmla="*/ 0 h 263"/>
                  <a:gd name="T2" fmla="*/ 0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264" y="0"/>
                    </a:moveTo>
                    <a:cubicBezTo>
                      <a:pt x="118" y="0"/>
                      <a:pt x="0" y="118"/>
                      <a:pt x="0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569" name="Freeform 807"/>
              <p:cNvSpPr>
                <a:spLocks/>
              </p:cNvSpPr>
              <p:nvPr userDrawn="1"/>
            </p:nvSpPr>
            <p:spPr bwMode="auto">
              <a:xfrm>
                <a:off x="5664200" y="6249988"/>
                <a:ext cx="922338" cy="922337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3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0" name="Freeform 809"/>
              <p:cNvSpPr>
                <a:spLocks/>
              </p:cNvSpPr>
              <p:nvPr userDrawn="1"/>
            </p:nvSpPr>
            <p:spPr bwMode="auto">
              <a:xfrm>
                <a:off x="5708650" y="6297613"/>
                <a:ext cx="877888" cy="874712"/>
              </a:xfrm>
              <a:custGeom>
                <a:avLst/>
                <a:gdLst>
                  <a:gd name="T0" fmla="*/ 239 w 239"/>
                  <a:gd name="T1" fmla="*/ 0 h 238"/>
                  <a:gd name="T2" fmla="*/ 0 w 239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9" h="238">
                    <a:moveTo>
                      <a:pt x="239" y="0"/>
                    </a:moveTo>
                    <a:cubicBezTo>
                      <a:pt x="107" y="0"/>
                      <a:pt x="0" y="107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1" name="Freeform 810"/>
              <p:cNvSpPr>
                <a:spLocks/>
              </p:cNvSpPr>
              <p:nvPr userDrawn="1"/>
            </p:nvSpPr>
            <p:spPr bwMode="auto">
              <a:xfrm>
                <a:off x="5756275" y="6345238"/>
                <a:ext cx="830263" cy="827087"/>
              </a:xfrm>
              <a:custGeom>
                <a:avLst/>
                <a:gdLst>
                  <a:gd name="T0" fmla="*/ 226 w 226"/>
                  <a:gd name="T1" fmla="*/ 0 h 225"/>
                  <a:gd name="T2" fmla="*/ 0 w 226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6" h="225">
                    <a:moveTo>
                      <a:pt x="226" y="0"/>
                    </a:moveTo>
                    <a:cubicBezTo>
                      <a:pt x="101" y="0"/>
                      <a:pt x="0" y="101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2" name="Freeform 811"/>
              <p:cNvSpPr>
                <a:spLocks/>
              </p:cNvSpPr>
              <p:nvPr userDrawn="1"/>
            </p:nvSpPr>
            <p:spPr bwMode="auto">
              <a:xfrm>
                <a:off x="5803900" y="6392863"/>
                <a:ext cx="782638" cy="779462"/>
              </a:xfrm>
              <a:custGeom>
                <a:avLst/>
                <a:gdLst>
                  <a:gd name="T0" fmla="*/ 213 w 213"/>
                  <a:gd name="T1" fmla="*/ 0 h 212"/>
                  <a:gd name="T2" fmla="*/ 0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213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3" name="Freeform 812"/>
              <p:cNvSpPr>
                <a:spLocks/>
              </p:cNvSpPr>
              <p:nvPr userDrawn="1"/>
            </p:nvSpPr>
            <p:spPr bwMode="auto">
              <a:xfrm>
                <a:off x="5851525" y="6440488"/>
                <a:ext cx="735013" cy="731837"/>
              </a:xfrm>
              <a:custGeom>
                <a:avLst/>
                <a:gdLst>
                  <a:gd name="T0" fmla="*/ 200 w 200"/>
                  <a:gd name="T1" fmla="*/ 0 h 199"/>
                  <a:gd name="T2" fmla="*/ 0 w 200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200" y="0"/>
                    </a:moveTo>
                    <a:cubicBezTo>
                      <a:pt x="89" y="0"/>
                      <a:pt x="0" y="89"/>
                      <a:pt x="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4" name="Freeform 813"/>
              <p:cNvSpPr>
                <a:spLocks/>
              </p:cNvSpPr>
              <p:nvPr userDrawn="1"/>
            </p:nvSpPr>
            <p:spPr bwMode="auto">
              <a:xfrm>
                <a:off x="5899150" y="6488113"/>
                <a:ext cx="687388" cy="684212"/>
              </a:xfrm>
              <a:custGeom>
                <a:avLst/>
                <a:gdLst>
                  <a:gd name="T0" fmla="*/ 187 w 187"/>
                  <a:gd name="T1" fmla="*/ 0 h 186"/>
                  <a:gd name="T2" fmla="*/ 0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0"/>
                    </a:moveTo>
                    <a:cubicBezTo>
                      <a:pt x="83" y="0"/>
                      <a:pt x="0" y="83"/>
                      <a:pt x="0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5" name="Freeform 814"/>
              <p:cNvSpPr>
                <a:spLocks/>
              </p:cNvSpPr>
              <p:nvPr userDrawn="1"/>
            </p:nvSpPr>
            <p:spPr bwMode="auto">
              <a:xfrm>
                <a:off x="5815805" y="6549231"/>
                <a:ext cx="639763" cy="636587"/>
              </a:xfrm>
              <a:custGeom>
                <a:avLst/>
                <a:gdLst>
                  <a:gd name="T0" fmla="*/ 174 w 174"/>
                  <a:gd name="T1" fmla="*/ 0 h 173"/>
                  <a:gd name="T2" fmla="*/ 0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174" y="0"/>
                    </a:moveTo>
                    <a:cubicBezTo>
                      <a:pt x="78" y="0"/>
                      <a:pt x="0" y="77"/>
                      <a:pt x="0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6" name="Freeform 815"/>
              <p:cNvSpPr>
                <a:spLocks/>
              </p:cNvSpPr>
              <p:nvPr userDrawn="1"/>
            </p:nvSpPr>
            <p:spPr bwMode="auto">
              <a:xfrm>
                <a:off x="5995987" y="6583363"/>
                <a:ext cx="590550" cy="588962"/>
              </a:xfrm>
              <a:custGeom>
                <a:avLst/>
                <a:gdLst>
                  <a:gd name="T0" fmla="*/ 161 w 161"/>
                  <a:gd name="T1" fmla="*/ 0 h 160"/>
                  <a:gd name="T2" fmla="*/ 0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161" y="0"/>
                    </a:moveTo>
                    <a:cubicBezTo>
                      <a:pt x="72" y="0"/>
                      <a:pt x="0" y="71"/>
                      <a:pt x="0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7" name="Freeform 816"/>
              <p:cNvSpPr>
                <a:spLocks/>
              </p:cNvSpPr>
              <p:nvPr userDrawn="1"/>
            </p:nvSpPr>
            <p:spPr bwMode="auto">
              <a:xfrm>
                <a:off x="6043612" y="6627813"/>
                <a:ext cx="542925" cy="544512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7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8" name="Freeform 817"/>
              <p:cNvSpPr>
                <a:spLocks/>
              </p:cNvSpPr>
              <p:nvPr userDrawn="1"/>
            </p:nvSpPr>
            <p:spPr bwMode="auto">
              <a:xfrm>
                <a:off x="6086475" y="6675438"/>
                <a:ext cx="500063" cy="496887"/>
              </a:xfrm>
              <a:custGeom>
                <a:avLst/>
                <a:gdLst>
                  <a:gd name="T0" fmla="*/ 136 w 136"/>
                  <a:gd name="T1" fmla="*/ 0 h 135"/>
                  <a:gd name="T2" fmla="*/ 0 w 136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6" h="135">
                    <a:moveTo>
                      <a:pt x="136" y="0"/>
                    </a:moveTo>
                    <a:cubicBezTo>
                      <a:pt x="61" y="0"/>
                      <a:pt x="0" y="61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79" name="Freeform 818"/>
              <p:cNvSpPr>
                <a:spLocks/>
              </p:cNvSpPr>
              <p:nvPr userDrawn="1"/>
            </p:nvSpPr>
            <p:spPr bwMode="auto">
              <a:xfrm>
                <a:off x="6135687" y="6723063"/>
                <a:ext cx="450850" cy="449262"/>
              </a:xfrm>
              <a:custGeom>
                <a:avLst/>
                <a:gdLst>
                  <a:gd name="T0" fmla="*/ 123 w 123"/>
                  <a:gd name="T1" fmla="*/ 0 h 122"/>
                  <a:gd name="T2" fmla="*/ 0 w 123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3" h="122">
                    <a:moveTo>
                      <a:pt x="123" y="0"/>
                    </a:moveTo>
                    <a:cubicBezTo>
                      <a:pt x="55" y="0"/>
                      <a:pt x="0" y="55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80" name="Freeform 819"/>
              <p:cNvSpPr>
                <a:spLocks/>
              </p:cNvSpPr>
              <p:nvPr userDrawn="1"/>
            </p:nvSpPr>
            <p:spPr bwMode="auto">
              <a:xfrm>
                <a:off x="6183312" y="6772275"/>
                <a:ext cx="403225" cy="400050"/>
              </a:xfrm>
              <a:custGeom>
                <a:avLst/>
                <a:gdLst>
                  <a:gd name="T0" fmla="*/ 110 w 110"/>
                  <a:gd name="T1" fmla="*/ 0 h 109"/>
                  <a:gd name="T2" fmla="*/ 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110" y="0"/>
                    </a:moveTo>
                    <a:cubicBezTo>
                      <a:pt x="49" y="0"/>
                      <a:pt x="0" y="49"/>
                      <a:pt x="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81" name="Freeform 820"/>
              <p:cNvSpPr>
                <a:spLocks/>
              </p:cNvSpPr>
              <p:nvPr userDrawn="1"/>
            </p:nvSpPr>
            <p:spPr bwMode="auto">
              <a:xfrm>
                <a:off x="6230937" y="6819900"/>
                <a:ext cx="355600" cy="352425"/>
              </a:xfrm>
              <a:custGeom>
                <a:avLst/>
                <a:gdLst>
                  <a:gd name="T0" fmla="*/ 97 w 97"/>
                  <a:gd name="T1" fmla="*/ 0 h 96"/>
                  <a:gd name="T2" fmla="*/ 0 w 97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97" y="0"/>
                    </a:moveTo>
                    <a:cubicBezTo>
                      <a:pt x="43" y="0"/>
                      <a:pt x="0" y="43"/>
                      <a:pt x="0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82" name="Freeform 821"/>
              <p:cNvSpPr>
                <a:spLocks/>
              </p:cNvSpPr>
              <p:nvPr userDrawn="1"/>
            </p:nvSpPr>
            <p:spPr bwMode="auto">
              <a:xfrm>
                <a:off x="6278562" y="6867525"/>
                <a:ext cx="307975" cy="304800"/>
              </a:xfrm>
              <a:custGeom>
                <a:avLst/>
                <a:gdLst>
                  <a:gd name="T0" fmla="*/ 84 w 84"/>
                  <a:gd name="T1" fmla="*/ 0 h 83"/>
                  <a:gd name="T2" fmla="*/ 0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84" y="0"/>
                    </a:moveTo>
                    <a:cubicBezTo>
                      <a:pt x="37" y="0"/>
                      <a:pt x="0" y="37"/>
                      <a:pt x="0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83" name="Freeform 822"/>
              <p:cNvSpPr>
                <a:spLocks/>
              </p:cNvSpPr>
              <p:nvPr userDrawn="1"/>
            </p:nvSpPr>
            <p:spPr bwMode="auto">
              <a:xfrm>
                <a:off x="6326187" y="6915150"/>
                <a:ext cx="260350" cy="257175"/>
              </a:xfrm>
              <a:custGeom>
                <a:avLst/>
                <a:gdLst>
                  <a:gd name="T0" fmla="*/ 71 w 71"/>
                  <a:gd name="T1" fmla="*/ 0 h 70"/>
                  <a:gd name="T2" fmla="*/ 0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71" y="0"/>
                    </a:moveTo>
                    <a:cubicBezTo>
                      <a:pt x="31" y="0"/>
                      <a:pt x="0" y="31"/>
                      <a:pt x="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89" name="Freeform 828"/>
              <p:cNvSpPr>
                <a:spLocks/>
              </p:cNvSpPr>
              <p:nvPr userDrawn="1"/>
            </p:nvSpPr>
            <p:spPr bwMode="auto">
              <a:xfrm>
                <a:off x="5616575" y="52339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0" name="Freeform 829"/>
              <p:cNvSpPr>
                <a:spLocks/>
              </p:cNvSpPr>
              <p:nvPr userDrawn="1"/>
            </p:nvSpPr>
            <p:spPr bwMode="auto">
              <a:xfrm>
                <a:off x="5616575" y="52816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1" name="Freeform 830"/>
              <p:cNvSpPr>
                <a:spLocks/>
              </p:cNvSpPr>
              <p:nvPr userDrawn="1"/>
            </p:nvSpPr>
            <p:spPr bwMode="auto">
              <a:xfrm>
                <a:off x="5616575" y="5329238"/>
                <a:ext cx="874713" cy="876300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6"/>
                      <a:pt x="13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2" name="Freeform 831"/>
              <p:cNvSpPr>
                <a:spLocks/>
              </p:cNvSpPr>
              <p:nvPr userDrawn="1"/>
            </p:nvSpPr>
            <p:spPr bwMode="auto">
              <a:xfrm>
                <a:off x="5616575" y="5373688"/>
                <a:ext cx="827088" cy="831850"/>
              </a:xfrm>
              <a:custGeom>
                <a:avLst/>
                <a:gdLst>
                  <a:gd name="T0" fmla="*/ 225 w 225"/>
                  <a:gd name="T1" fmla="*/ 226 h 226"/>
                  <a:gd name="T2" fmla="*/ 0 w 225"/>
                  <a:gd name="T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6">
                    <a:moveTo>
                      <a:pt x="225" y="226"/>
                    </a:moveTo>
                    <a:cubicBezTo>
                      <a:pt x="225" y="101"/>
                      <a:pt x="12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3" name="Freeform 832"/>
              <p:cNvSpPr>
                <a:spLocks/>
              </p:cNvSpPr>
              <p:nvPr userDrawn="1"/>
            </p:nvSpPr>
            <p:spPr bwMode="auto">
              <a:xfrm>
                <a:off x="5616575" y="5421313"/>
                <a:ext cx="779463" cy="784225"/>
              </a:xfrm>
              <a:custGeom>
                <a:avLst/>
                <a:gdLst>
                  <a:gd name="T0" fmla="*/ 212 w 212"/>
                  <a:gd name="T1" fmla="*/ 213 h 213"/>
                  <a:gd name="T2" fmla="*/ 0 w 212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3">
                    <a:moveTo>
                      <a:pt x="212" y="213"/>
                    </a:moveTo>
                    <a:cubicBezTo>
                      <a:pt x="212" y="95"/>
                      <a:pt x="11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4" name="Freeform 833"/>
              <p:cNvSpPr>
                <a:spLocks/>
              </p:cNvSpPr>
              <p:nvPr userDrawn="1"/>
            </p:nvSpPr>
            <p:spPr bwMode="auto">
              <a:xfrm>
                <a:off x="5616575" y="5468938"/>
                <a:ext cx="731838" cy="736600"/>
              </a:xfrm>
              <a:custGeom>
                <a:avLst/>
                <a:gdLst>
                  <a:gd name="T0" fmla="*/ 199 w 199"/>
                  <a:gd name="T1" fmla="*/ 200 h 200"/>
                  <a:gd name="T2" fmla="*/ 0 w 199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200">
                    <a:moveTo>
                      <a:pt x="199" y="200"/>
                    </a:moveTo>
                    <a:cubicBezTo>
                      <a:pt x="199" y="89"/>
                      <a:pt x="1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5" name="Freeform 834"/>
              <p:cNvSpPr>
                <a:spLocks/>
              </p:cNvSpPr>
              <p:nvPr userDrawn="1"/>
            </p:nvSpPr>
            <p:spPr bwMode="auto">
              <a:xfrm>
                <a:off x="5616575" y="5516563"/>
                <a:ext cx="684213" cy="688975"/>
              </a:xfrm>
              <a:custGeom>
                <a:avLst/>
                <a:gdLst>
                  <a:gd name="T0" fmla="*/ 186 w 186"/>
                  <a:gd name="T1" fmla="*/ 187 h 187"/>
                  <a:gd name="T2" fmla="*/ 0 w 186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7">
                    <a:moveTo>
                      <a:pt x="186" y="187"/>
                    </a:moveTo>
                    <a:cubicBezTo>
                      <a:pt x="186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6" name="Freeform 835"/>
              <p:cNvSpPr>
                <a:spLocks/>
              </p:cNvSpPr>
              <p:nvPr userDrawn="1"/>
            </p:nvSpPr>
            <p:spPr bwMode="auto">
              <a:xfrm>
                <a:off x="5616575" y="5564188"/>
                <a:ext cx="636588" cy="641350"/>
              </a:xfrm>
              <a:custGeom>
                <a:avLst/>
                <a:gdLst>
                  <a:gd name="T0" fmla="*/ 173 w 173"/>
                  <a:gd name="T1" fmla="*/ 174 h 174"/>
                  <a:gd name="T2" fmla="*/ 0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173" y="174"/>
                    </a:moveTo>
                    <a:cubicBezTo>
                      <a:pt x="173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7" name="Freeform 836"/>
              <p:cNvSpPr>
                <a:spLocks/>
              </p:cNvSpPr>
              <p:nvPr userDrawn="1"/>
            </p:nvSpPr>
            <p:spPr bwMode="auto">
              <a:xfrm>
                <a:off x="5616575" y="5613400"/>
                <a:ext cx="592138" cy="592137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8" name="Freeform 837"/>
              <p:cNvSpPr>
                <a:spLocks/>
              </p:cNvSpPr>
              <p:nvPr userDrawn="1"/>
            </p:nvSpPr>
            <p:spPr bwMode="auto">
              <a:xfrm>
                <a:off x="5616575" y="5661025"/>
                <a:ext cx="544513" cy="544512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199" name="Freeform 838"/>
              <p:cNvSpPr>
                <a:spLocks/>
              </p:cNvSpPr>
              <p:nvPr userDrawn="1"/>
            </p:nvSpPr>
            <p:spPr bwMode="auto">
              <a:xfrm>
                <a:off x="5616575" y="5708650"/>
                <a:ext cx="496888" cy="496887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0" name="Freeform 839"/>
              <p:cNvSpPr>
                <a:spLocks/>
              </p:cNvSpPr>
              <p:nvPr userDrawn="1"/>
            </p:nvSpPr>
            <p:spPr bwMode="auto">
              <a:xfrm>
                <a:off x="5616575" y="5753100"/>
                <a:ext cx="449263" cy="452437"/>
              </a:xfrm>
              <a:custGeom>
                <a:avLst/>
                <a:gdLst>
                  <a:gd name="T0" fmla="*/ 122 w 122"/>
                  <a:gd name="T1" fmla="*/ 123 h 123"/>
                  <a:gd name="T2" fmla="*/ 0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122" y="123"/>
                    </a:moveTo>
                    <a:cubicBezTo>
                      <a:pt x="122" y="55"/>
                      <a:pt x="67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1" name="Freeform 840"/>
              <p:cNvSpPr>
                <a:spLocks/>
              </p:cNvSpPr>
              <p:nvPr userDrawn="1"/>
            </p:nvSpPr>
            <p:spPr bwMode="auto">
              <a:xfrm>
                <a:off x="5616575" y="5800725"/>
                <a:ext cx="400050" cy="404812"/>
              </a:xfrm>
              <a:custGeom>
                <a:avLst/>
                <a:gdLst>
                  <a:gd name="T0" fmla="*/ 109 w 109"/>
                  <a:gd name="T1" fmla="*/ 110 h 110"/>
                  <a:gd name="T2" fmla="*/ 0 w 109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10">
                    <a:moveTo>
                      <a:pt x="109" y="110"/>
                    </a:moveTo>
                    <a:cubicBezTo>
                      <a:pt x="109" y="49"/>
                      <a:pt x="6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2" name="Freeform 841"/>
              <p:cNvSpPr>
                <a:spLocks/>
              </p:cNvSpPr>
              <p:nvPr userDrawn="1"/>
            </p:nvSpPr>
            <p:spPr bwMode="auto">
              <a:xfrm>
                <a:off x="5616575" y="5848350"/>
                <a:ext cx="352425" cy="357187"/>
              </a:xfrm>
              <a:custGeom>
                <a:avLst/>
                <a:gdLst>
                  <a:gd name="T0" fmla="*/ 96 w 96"/>
                  <a:gd name="T1" fmla="*/ 97 h 97"/>
                  <a:gd name="T2" fmla="*/ 0 w 96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7">
                    <a:moveTo>
                      <a:pt x="96" y="97"/>
                    </a:moveTo>
                    <a:cubicBezTo>
                      <a:pt x="96" y="43"/>
                      <a:pt x="5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3" name="Freeform 842"/>
              <p:cNvSpPr>
                <a:spLocks/>
              </p:cNvSpPr>
              <p:nvPr userDrawn="1"/>
            </p:nvSpPr>
            <p:spPr bwMode="auto">
              <a:xfrm>
                <a:off x="5616575" y="5895975"/>
                <a:ext cx="304800" cy="309562"/>
              </a:xfrm>
              <a:custGeom>
                <a:avLst/>
                <a:gdLst>
                  <a:gd name="T0" fmla="*/ 83 w 83"/>
                  <a:gd name="T1" fmla="*/ 84 h 84"/>
                  <a:gd name="T2" fmla="*/ 0 w 83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4">
                    <a:moveTo>
                      <a:pt x="83" y="84"/>
                    </a:moveTo>
                    <a:cubicBezTo>
                      <a:pt x="83" y="37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4" name="Freeform 843"/>
              <p:cNvSpPr>
                <a:spLocks/>
              </p:cNvSpPr>
              <p:nvPr userDrawn="1"/>
            </p:nvSpPr>
            <p:spPr bwMode="auto">
              <a:xfrm>
                <a:off x="5616575" y="5943600"/>
                <a:ext cx="260350" cy="261937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1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5" name="Freeform 844"/>
              <p:cNvSpPr>
                <a:spLocks/>
              </p:cNvSpPr>
              <p:nvPr userDrawn="1"/>
            </p:nvSpPr>
            <p:spPr bwMode="auto">
              <a:xfrm>
                <a:off x="5616575" y="5991225"/>
                <a:ext cx="212725" cy="214312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6" name="Freeform 845"/>
              <p:cNvSpPr>
                <a:spLocks/>
              </p:cNvSpPr>
              <p:nvPr userDrawn="1"/>
            </p:nvSpPr>
            <p:spPr bwMode="auto">
              <a:xfrm>
                <a:off x="5616575" y="6038850"/>
                <a:ext cx="165100" cy="166687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7" name="Freeform 846"/>
              <p:cNvSpPr>
                <a:spLocks/>
              </p:cNvSpPr>
              <p:nvPr userDrawn="1"/>
            </p:nvSpPr>
            <p:spPr bwMode="auto">
              <a:xfrm>
                <a:off x="5616575" y="6083300"/>
                <a:ext cx="117475" cy="122237"/>
              </a:xfrm>
              <a:custGeom>
                <a:avLst/>
                <a:gdLst>
                  <a:gd name="T0" fmla="*/ 32 w 32"/>
                  <a:gd name="T1" fmla="*/ 33 h 33"/>
                  <a:gd name="T2" fmla="*/ 0 w 32"/>
                  <a:gd name="T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3">
                    <a:moveTo>
                      <a:pt x="32" y="33"/>
                    </a:moveTo>
                    <a:cubicBezTo>
                      <a:pt x="32" y="15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8" name="Freeform 847"/>
              <p:cNvSpPr>
                <a:spLocks/>
              </p:cNvSpPr>
              <p:nvPr userDrawn="1"/>
            </p:nvSpPr>
            <p:spPr bwMode="auto">
              <a:xfrm>
                <a:off x="5616575" y="6130925"/>
                <a:ext cx="69850" cy="74612"/>
              </a:xfrm>
              <a:custGeom>
                <a:avLst/>
                <a:gdLst>
                  <a:gd name="T0" fmla="*/ 19 w 19"/>
                  <a:gd name="T1" fmla="*/ 20 h 20"/>
                  <a:gd name="T2" fmla="*/ 0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19" y="20"/>
                    </a:moveTo>
                    <a:cubicBezTo>
                      <a:pt x="19" y="9"/>
                      <a:pt x="10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09" name="Freeform 848"/>
              <p:cNvSpPr>
                <a:spLocks/>
              </p:cNvSpPr>
              <p:nvPr userDrawn="1"/>
            </p:nvSpPr>
            <p:spPr bwMode="auto">
              <a:xfrm>
                <a:off x="5616575" y="6178550"/>
                <a:ext cx="22225" cy="26987"/>
              </a:xfrm>
              <a:custGeom>
                <a:avLst/>
                <a:gdLst>
                  <a:gd name="T0" fmla="*/ 6 w 6"/>
                  <a:gd name="T1" fmla="*/ 7 h 7"/>
                  <a:gd name="T2" fmla="*/ 0 w 6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7">
                    <a:moveTo>
                      <a:pt x="6" y="7"/>
                    </a:moveTo>
                    <a:cubicBezTo>
                      <a:pt x="6" y="3"/>
                      <a:pt x="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0" name="Freeform 849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1" name="Freeform 850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2" name="Freeform 851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874713" cy="874712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1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3" name="Freeform 852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827088" cy="827087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4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4" name="Freeform 853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779463" cy="779462"/>
              </a:xfrm>
              <a:custGeom>
                <a:avLst/>
                <a:gdLst>
                  <a:gd name="T0" fmla="*/ 0 w 212"/>
                  <a:gd name="T1" fmla="*/ 212 h 212"/>
                  <a:gd name="T2" fmla="*/ 212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212"/>
                    </a:moveTo>
                    <a:cubicBezTo>
                      <a:pt x="117" y="212"/>
                      <a:pt x="212" y="117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5" name="Freeform 854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731838" cy="731837"/>
              </a:xfrm>
              <a:custGeom>
                <a:avLst/>
                <a:gdLst>
                  <a:gd name="T0" fmla="*/ 0 w 199"/>
                  <a:gd name="T1" fmla="*/ 199 h 199"/>
                  <a:gd name="T2" fmla="*/ 199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199"/>
                    </a:moveTo>
                    <a:cubicBezTo>
                      <a:pt x="110" y="199"/>
                      <a:pt x="199" y="110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6" name="Freeform 855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687388" cy="684212"/>
              </a:xfrm>
              <a:custGeom>
                <a:avLst/>
                <a:gdLst>
                  <a:gd name="T0" fmla="*/ 0 w 187"/>
                  <a:gd name="T1" fmla="*/ 186 h 186"/>
                  <a:gd name="T2" fmla="*/ 187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186"/>
                    </a:moveTo>
                    <a:cubicBezTo>
                      <a:pt x="103" y="186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7" name="Freeform 856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639763" cy="639762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8" name="Freeform 857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592138" cy="592137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19" name="Freeform 858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544513" cy="544512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0" name="Freeform 859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495300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1" name="Freeform 860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447675" cy="449262"/>
              </a:xfrm>
              <a:custGeom>
                <a:avLst/>
                <a:gdLst>
                  <a:gd name="T0" fmla="*/ 0 w 122"/>
                  <a:gd name="T1" fmla="*/ 122 h 122"/>
                  <a:gd name="T2" fmla="*/ 122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122"/>
                    </a:moveTo>
                    <a:cubicBezTo>
                      <a:pt x="68" y="122"/>
                      <a:pt x="122" y="67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2" name="Freeform 861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400050" cy="401637"/>
              </a:xfrm>
              <a:custGeom>
                <a:avLst/>
                <a:gdLst>
                  <a:gd name="T0" fmla="*/ 0 w 109"/>
                  <a:gd name="T1" fmla="*/ 109 h 109"/>
                  <a:gd name="T2" fmla="*/ 109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109"/>
                    </a:moveTo>
                    <a:cubicBezTo>
                      <a:pt x="60" y="109"/>
                      <a:pt x="109" y="60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3" name="Freeform 862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355600" cy="352425"/>
              </a:xfrm>
              <a:custGeom>
                <a:avLst/>
                <a:gdLst>
                  <a:gd name="T0" fmla="*/ 0 w 97"/>
                  <a:gd name="T1" fmla="*/ 96 h 96"/>
                  <a:gd name="T2" fmla="*/ 97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96"/>
                    </a:moveTo>
                    <a:cubicBezTo>
                      <a:pt x="53" y="96"/>
                      <a:pt x="97" y="53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4" name="Freeform 863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307975" cy="304800"/>
              </a:xfrm>
              <a:custGeom>
                <a:avLst/>
                <a:gdLst>
                  <a:gd name="T0" fmla="*/ 0 w 84"/>
                  <a:gd name="T1" fmla="*/ 83 h 83"/>
                  <a:gd name="T2" fmla="*/ 84 w 84"/>
                  <a:gd name="T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83"/>
                    </a:moveTo>
                    <a:cubicBezTo>
                      <a:pt x="46" y="83"/>
                      <a:pt x="84" y="46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5" name="Freeform 864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260350" cy="260350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6" name="Freeform 865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212725" cy="212725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7" name="Freeform 866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165100" cy="165100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8" name="Freeform 867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29" name="Freeform 868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69850" cy="69850"/>
              </a:xfrm>
              <a:custGeom>
                <a:avLst/>
                <a:gdLst>
                  <a:gd name="T0" fmla="*/ 0 w 19"/>
                  <a:gd name="T1" fmla="*/ 19 h 19"/>
                  <a:gd name="T2" fmla="*/ 19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19"/>
                    </a:moveTo>
                    <a:cubicBezTo>
                      <a:pt x="11" y="19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0" name="Freeform 869"/>
              <p:cNvSpPr>
                <a:spLocks/>
              </p:cNvSpPr>
              <p:nvPr userDrawn="1"/>
            </p:nvSpPr>
            <p:spPr bwMode="auto">
              <a:xfrm>
                <a:off x="4646612" y="5233988"/>
                <a:ext cx="22225" cy="22225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cubicBezTo>
                      <a:pt x="4" y="6"/>
                      <a:pt x="6" y="3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1" name="Freeform 870"/>
              <p:cNvSpPr>
                <a:spLocks/>
              </p:cNvSpPr>
              <p:nvPr userDrawn="1"/>
            </p:nvSpPr>
            <p:spPr bwMode="auto">
              <a:xfrm>
                <a:off x="6586537" y="6205538"/>
                <a:ext cx="966788" cy="966787"/>
              </a:xfrm>
              <a:custGeom>
                <a:avLst/>
                <a:gdLst>
                  <a:gd name="T0" fmla="*/ 0 w 263"/>
                  <a:gd name="T1" fmla="*/ 0 h 263"/>
                  <a:gd name="T2" fmla="*/ 263 w 263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3">
                    <a:moveTo>
                      <a:pt x="0" y="0"/>
                    </a:moveTo>
                    <a:cubicBezTo>
                      <a:pt x="0" y="145"/>
                      <a:pt x="117" y="263"/>
                      <a:pt x="263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2" name="Freeform 871"/>
              <p:cNvSpPr>
                <a:spLocks/>
              </p:cNvSpPr>
              <p:nvPr userDrawn="1"/>
            </p:nvSpPr>
            <p:spPr bwMode="auto">
              <a:xfrm>
                <a:off x="6630987" y="6205538"/>
                <a:ext cx="922338" cy="919162"/>
              </a:xfrm>
              <a:custGeom>
                <a:avLst/>
                <a:gdLst>
                  <a:gd name="T0" fmla="*/ 0 w 251"/>
                  <a:gd name="T1" fmla="*/ 0 h 250"/>
                  <a:gd name="T2" fmla="*/ 251 w 251"/>
                  <a:gd name="T3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0">
                    <a:moveTo>
                      <a:pt x="0" y="0"/>
                    </a:moveTo>
                    <a:cubicBezTo>
                      <a:pt x="0" y="138"/>
                      <a:pt x="113" y="250"/>
                      <a:pt x="251" y="25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3" name="Freeform 872"/>
              <p:cNvSpPr>
                <a:spLocks/>
              </p:cNvSpPr>
              <p:nvPr userDrawn="1"/>
            </p:nvSpPr>
            <p:spPr bwMode="auto">
              <a:xfrm>
                <a:off x="6678612" y="6205538"/>
                <a:ext cx="874713" cy="874712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1"/>
                      <a:pt x="107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4" name="Freeform 873"/>
              <p:cNvSpPr>
                <a:spLocks/>
              </p:cNvSpPr>
              <p:nvPr userDrawn="1"/>
            </p:nvSpPr>
            <p:spPr bwMode="auto">
              <a:xfrm>
                <a:off x="6726237" y="6205538"/>
                <a:ext cx="827088" cy="827087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4"/>
                      <a:pt x="101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5" name="Freeform 874"/>
              <p:cNvSpPr>
                <a:spLocks/>
              </p:cNvSpPr>
              <p:nvPr userDrawn="1"/>
            </p:nvSpPr>
            <p:spPr bwMode="auto">
              <a:xfrm>
                <a:off x="6773862" y="6205538"/>
                <a:ext cx="779463" cy="779462"/>
              </a:xfrm>
              <a:custGeom>
                <a:avLst/>
                <a:gdLst>
                  <a:gd name="T0" fmla="*/ 0 w 212"/>
                  <a:gd name="T1" fmla="*/ 0 h 212"/>
                  <a:gd name="T2" fmla="*/ 212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0"/>
                    </a:moveTo>
                    <a:cubicBezTo>
                      <a:pt x="0" y="117"/>
                      <a:pt x="95" y="212"/>
                      <a:pt x="212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6" name="Freeform 875"/>
              <p:cNvSpPr>
                <a:spLocks/>
              </p:cNvSpPr>
              <p:nvPr userDrawn="1"/>
            </p:nvSpPr>
            <p:spPr bwMode="auto">
              <a:xfrm>
                <a:off x="6821487" y="6205538"/>
                <a:ext cx="731838" cy="731837"/>
              </a:xfrm>
              <a:custGeom>
                <a:avLst/>
                <a:gdLst>
                  <a:gd name="T0" fmla="*/ 0 w 199"/>
                  <a:gd name="T1" fmla="*/ 0 h 199"/>
                  <a:gd name="T2" fmla="*/ 199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0"/>
                    </a:moveTo>
                    <a:cubicBezTo>
                      <a:pt x="0" y="110"/>
                      <a:pt x="89" y="199"/>
                      <a:pt x="199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7" name="Freeform 876"/>
              <p:cNvSpPr>
                <a:spLocks/>
              </p:cNvSpPr>
              <p:nvPr userDrawn="1"/>
            </p:nvSpPr>
            <p:spPr bwMode="auto">
              <a:xfrm>
                <a:off x="6870700" y="6205538"/>
                <a:ext cx="682625" cy="684212"/>
              </a:xfrm>
              <a:custGeom>
                <a:avLst/>
                <a:gdLst>
                  <a:gd name="T0" fmla="*/ 0 w 186"/>
                  <a:gd name="T1" fmla="*/ 0 h 186"/>
                  <a:gd name="T2" fmla="*/ 186 w 186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0" y="0"/>
                    </a:moveTo>
                    <a:cubicBezTo>
                      <a:pt x="0" y="103"/>
                      <a:pt x="83" y="186"/>
                      <a:pt x="186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8" name="Freeform 877"/>
              <p:cNvSpPr>
                <a:spLocks/>
              </p:cNvSpPr>
              <p:nvPr userDrawn="1"/>
            </p:nvSpPr>
            <p:spPr bwMode="auto">
              <a:xfrm>
                <a:off x="6918325" y="6205538"/>
                <a:ext cx="635000" cy="636587"/>
              </a:xfrm>
              <a:custGeom>
                <a:avLst/>
                <a:gdLst>
                  <a:gd name="T0" fmla="*/ 0 w 173"/>
                  <a:gd name="T1" fmla="*/ 0 h 173"/>
                  <a:gd name="T2" fmla="*/ 173 w 173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3">
                    <a:moveTo>
                      <a:pt x="0" y="0"/>
                    </a:moveTo>
                    <a:cubicBezTo>
                      <a:pt x="0" y="96"/>
                      <a:pt x="77" y="173"/>
                      <a:pt x="173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9" name="Freeform 878"/>
              <p:cNvSpPr>
                <a:spLocks/>
              </p:cNvSpPr>
              <p:nvPr userDrawn="1"/>
            </p:nvSpPr>
            <p:spPr bwMode="auto">
              <a:xfrm>
                <a:off x="6961187" y="6205538"/>
                <a:ext cx="592138" cy="588962"/>
              </a:xfrm>
              <a:custGeom>
                <a:avLst/>
                <a:gdLst>
                  <a:gd name="T0" fmla="*/ 0 w 161"/>
                  <a:gd name="T1" fmla="*/ 0 h 160"/>
                  <a:gd name="T2" fmla="*/ 161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0" y="0"/>
                    </a:moveTo>
                    <a:cubicBezTo>
                      <a:pt x="0" y="88"/>
                      <a:pt x="72" y="160"/>
                      <a:pt x="161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0" name="Freeform 879"/>
              <p:cNvSpPr>
                <a:spLocks/>
              </p:cNvSpPr>
              <p:nvPr userDrawn="1"/>
            </p:nvSpPr>
            <p:spPr bwMode="auto">
              <a:xfrm>
                <a:off x="7010400" y="6205538"/>
                <a:ext cx="542925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1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1" name="Freeform 880"/>
              <p:cNvSpPr>
                <a:spLocks/>
              </p:cNvSpPr>
              <p:nvPr userDrawn="1"/>
            </p:nvSpPr>
            <p:spPr bwMode="auto">
              <a:xfrm>
                <a:off x="7058025" y="62055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4"/>
                      <a:pt x="61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2" name="Freeform 881"/>
              <p:cNvSpPr>
                <a:spLocks/>
              </p:cNvSpPr>
              <p:nvPr userDrawn="1"/>
            </p:nvSpPr>
            <p:spPr bwMode="auto">
              <a:xfrm>
                <a:off x="7105650" y="6205538"/>
                <a:ext cx="447675" cy="447675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7"/>
                      <a:pt x="55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3" name="Freeform 882"/>
              <p:cNvSpPr>
                <a:spLocks/>
              </p:cNvSpPr>
              <p:nvPr userDrawn="1"/>
            </p:nvSpPr>
            <p:spPr bwMode="auto">
              <a:xfrm>
                <a:off x="7153275" y="6205538"/>
                <a:ext cx="400050" cy="400050"/>
              </a:xfrm>
              <a:custGeom>
                <a:avLst/>
                <a:gdLst>
                  <a:gd name="T0" fmla="*/ 0 w 109"/>
                  <a:gd name="T1" fmla="*/ 0 h 109"/>
                  <a:gd name="T2" fmla="*/ 109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0"/>
                    </a:moveTo>
                    <a:cubicBezTo>
                      <a:pt x="0" y="60"/>
                      <a:pt x="49" y="109"/>
                      <a:pt x="109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4" name="Freeform 883"/>
              <p:cNvSpPr>
                <a:spLocks/>
              </p:cNvSpPr>
              <p:nvPr userDrawn="1"/>
            </p:nvSpPr>
            <p:spPr bwMode="auto">
              <a:xfrm>
                <a:off x="7200900" y="6205538"/>
                <a:ext cx="352425" cy="352425"/>
              </a:xfrm>
              <a:custGeom>
                <a:avLst/>
                <a:gdLst>
                  <a:gd name="T0" fmla="*/ 0 w 96"/>
                  <a:gd name="T1" fmla="*/ 0 h 96"/>
                  <a:gd name="T2" fmla="*/ 96 w 96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0" y="0"/>
                    </a:moveTo>
                    <a:cubicBezTo>
                      <a:pt x="0" y="53"/>
                      <a:pt x="43" y="96"/>
                      <a:pt x="96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5" name="Freeform 884"/>
              <p:cNvSpPr>
                <a:spLocks/>
              </p:cNvSpPr>
              <p:nvPr userDrawn="1"/>
            </p:nvSpPr>
            <p:spPr bwMode="auto">
              <a:xfrm>
                <a:off x="7248525" y="6205538"/>
                <a:ext cx="304800" cy="304800"/>
              </a:xfrm>
              <a:custGeom>
                <a:avLst/>
                <a:gdLst>
                  <a:gd name="T0" fmla="*/ 0 w 83"/>
                  <a:gd name="T1" fmla="*/ 0 h 83"/>
                  <a:gd name="T2" fmla="*/ 83 w 83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3">
                    <a:moveTo>
                      <a:pt x="0" y="0"/>
                    </a:moveTo>
                    <a:cubicBezTo>
                      <a:pt x="0" y="46"/>
                      <a:pt x="37" y="83"/>
                      <a:pt x="83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6" name="Freeform 885"/>
              <p:cNvSpPr>
                <a:spLocks/>
              </p:cNvSpPr>
              <p:nvPr userDrawn="1"/>
            </p:nvSpPr>
            <p:spPr bwMode="auto">
              <a:xfrm>
                <a:off x="7296150" y="6205538"/>
                <a:ext cx="257175" cy="257175"/>
              </a:xfrm>
              <a:custGeom>
                <a:avLst/>
                <a:gdLst>
                  <a:gd name="T0" fmla="*/ 0 w 70"/>
                  <a:gd name="T1" fmla="*/ 0 h 70"/>
                  <a:gd name="T2" fmla="*/ 70 w 70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0">
                    <a:moveTo>
                      <a:pt x="0" y="0"/>
                    </a:moveTo>
                    <a:cubicBezTo>
                      <a:pt x="0" y="39"/>
                      <a:pt x="31" y="70"/>
                      <a:pt x="7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7" name="Freeform 886"/>
              <p:cNvSpPr>
                <a:spLocks/>
              </p:cNvSpPr>
              <p:nvPr userDrawn="1"/>
            </p:nvSpPr>
            <p:spPr bwMode="auto">
              <a:xfrm>
                <a:off x="7340600" y="6205538"/>
                <a:ext cx="212725" cy="209550"/>
              </a:xfrm>
              <a:custGeom>
                <a:avLst/>
                <a:gdLst>
                  <a:gd name="T0" fmla="*/ 0 w 58"/>
                  <a:gd name="T1" fmla="*/ 0 h 57"/>
                  <a:gd name="T2" fmla="*/ 58 w 58"/>
                  <a:gd name="T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7">
                    <a:moveTo>
                      <a:pt x="0" y="0"/>
                    </a:moveTo>
                    <a:cubicBezTo>
                      <a:pt x="0" y="32"/>
                      <a:pt x="26" y="57"/>
                      <a:pt x="58" y="57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8" name="Freeform 887"/>
              <p:cNvSpPr>
                <a:spLocks/>
              </p:cNvSpPr>
              <p:nvPr userDrawn="1"/>
            </p:nvSpPr>
            <p:spPr bwMode="auto">
              <a:xfrm>
                <a:off x="7388225" y="6205538"/>
                <a:ext cx="165100" cy="165100"/>
              </a:xfrm>
              <a:custGeom>
                <a:avLst/>
                <a:gdLst>
                  <a:gd name="T0" fmla="*/ 0 w 45"/>
                  <a:gd name="T1" fmla="*/ 0 h 45"/>
                  <a:gd name="T2" fmla="*/ 45 w 45"/>
                  <a:gd name="T3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0"/>
                    </a:moveTo>
                    <a:cubicBezTo>
                      <a:pt x="0" y="24"/>
                      <a:pt x="20" y="45"/>
                      <a:pt x="45" y="4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9" name="Freeform 888"/>
              <p:cNvSpPr>
                <a:spLocks/>
              </p:cNvSpPr>
              <p:nvPr userDrawn="1"/>
            </p:nvSpPr>
            <p:spPr bwMode="auto">
              <a:xfrm>
                <a:off x="7435850" y="6205538"/>
                <a:ext cx="117475" cy="117475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0" y="17"/>
                      <a:pt x="14" y="32"/>
                      <a:pt x="32" y="3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0" name="Freeform 889"/>
              <p:cNvSpPr>
                <a:spLocks/>
              </p:cNvSpPr>
              <p:nvPr userDrawn="1"/>
            </p:nvSpPr>
            <p:spPr bwMode="auto">
              <a:xfrm>
                <a:off x="7483475" y="6205538"/>
                <a:ext cx="69850" cy="69850"/>
              </a:xfrm>
              <a:custGeom>
                <a:avLst/>
                <a:gdLst>
                  <a:gd name="T0" fmla="*/ 0 w 19"/>
                  <a:gd name="T1" fmla="*/ 0 h 19"/>
                  <a:gd name="T2" fmla="*/ 19 w 19"/>
                  <a:gd name="T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0"/>
                    </a:moveTo>
                    <a:cubicBezTo>
                      <a:pt x="0" y="10"/>
                      <a:pt x="9" y="19"/>
                      <a:pt x="19" y="1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1" name="Freeform 890"/>
              <p:cNvSpPr>
                <a:spLocks/>
              </p:cNvSpPr>
              <p:nvPr userDrawn="1"/>
            </p:nvSpPr>
            <p:spPr bwMode="auto">
              <a:xfrm>
                <a:off x="7531100" y="6205538"/>
                <a:ext cx="22225" cy="22225"/>
              </a:xfrm>
              <a:custGeom>
                <a:avLst/>
                <a:gdLst>
                  <a:gd name="T0" fmla="*/ 0 w 6"/>
                  <a:gd name="T1" fmla="*/ 0 h 6"/>
                  <a:gd name="T2" fmla="*/ 6 w 6"/>
                  <a:gd name="T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0" y="3"/>
                      <a:pt x="3" y="6"/>
                      <a:pt x="6" y="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2" name="Freeform 891"/>
              <p:cNvSpPr>
                <a:spLocks/>
              </p:cNvSpPr>
              <p:nvPr userDrawn="1"/>
            </p:nvSpPr>
            <p:spPr bwMode="auto">
              <a:xfrm>
                <a:off x="7553325" y="6205538"/>
                <a:ext cx="969963" cy="966787"/>
              </a:xfrm>
              <a:custGeom>
                <a:avLst/>
                <a:gdLst>
                  <a:gd name="T0" fmla="*/ 264 w 264"/>
                  <a:gd name="T1" fmla="*/ 0 h 263"/>
                  <a:gd name="T2" fmla="*/ 0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264" y="0"/>
                    </a:moveTo>
                    <a:cubicBezTo>
                      <a:pt x="118" y="0"/>
                      <a:pt x="0" y="118"/>
                      <a:pt x="0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3" name="Freeform 892"/>
              <p:cNvSpPr>
                <a:spLocks/>
              </p:cNvSpPr>
              <p:nvPr userDrawn="1"/>
            </p:nvSpPr>
            <p:spPr bwMode="auto">
              <a:xfrm>
                <a:off x="7600950" y="6249988"/>
                <a:ext cx="922338" cy="922337"/>
              </a:xfrm>
              <a:custGeom>
                <a:avLst/>
                <a:gdLst>
                  <a:gd name="T0" fmla="*/ 251 w 251"/>
                  <a:gd name="T1" fmla="*/ 0 h 251"/>
                  <a:gd name="T2" fmla="*/ 0 w 251"/>
                  <a:gd name="T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0"/>
                    </a:moveTo>
                    <a:cubicBezTo>
                      <a:pt x="112" y="0"/>
                      <a:pt x="0" y="113"/>
                      <a:pt x="0" y="251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4" name="Freeform 893"/>
              <p:cNvSpPr>
                <a:spLocks/>
              </p:cNvSpPr>
              <p:nvPr userDrawn="1"/>
            </p:nvSpPr>
            <p:spPr bwMode="auto">
              <a:xfrm>
                <a:off x="7648575" y="6297613"/>
                <a:ext cx="874713" cy="874712"/>
              </a:xfrm>
              <a:custGeom>
                <a:avLst/>
                <a:gdLst>
                  <a:gd name="T0" fmla="*/ 238 w 238"/>
                  <a:gd name="T1" fmla="*/ 0 h 238"/>
                  <a:gd name="T2" fmla="*/ 0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0"/>
                    </a:moveTo>
                    <a:cubicBezTo>
                      <a:pt x="106" y="0"/>
                      <a:pt x="0" y="107"/>
                      <a:pt x="0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5" name="Freeform 894"/>
              <p:cNvSpPr>
                <a:spLocks/>
              </p:cNvSpPr>
              <p:nvPr userDrawn="1"/>
            </p:nvSpPr>
            <p:spPr bwMode="auto">
              <a:xfrm>
                <a:off x="7696200" y="6345238"/>
                <a:ext cx="827088" cy="827087"/>
              </a:xfrm>
              <a:custGeom>
                <a:avLst/>
                <a:gdLst>
                  <a:gd name="T0" fmla="*/ 225 w 225"/>
                  <a:gd name="T1" fmla="*/ 0 h 225"/>
                  <a:gd name="T2" fmla="*/ 0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225" y="0"/>
                    </a:moveTo>
                    <a:cubicBezTo>
                      <a:pt x="101" y="0"/>
                      <a:pt x="0" y="101"/>
                      <a:pt x="0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6" name="Freeform 895"/>
              <p:cNvSpPr>
                <a:spLocks/>
              </p:cNvSpPr>
              <p:nvPr userDrawn="1"/>
            </p:nvSpPr>
            <p:spPr bwMode="auto">
              <a:xfrm>
                <a:off x="7745412" y="6392863"/>
                <a:ext cx="777875" cy="779462"/>
              </a:xfrm>
              <a:custGeom>
                <a:avLst/>
                <a:gdLst>
                  <a:gd name="T0" fmla="*/ 212 w 212"/>
                  <a:gd name="T1" fmla="*/ 0 h 212"/>
                  <a:gd name="T2" fmla="*/ 0 w 212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7" name="Freeform 896"/>
              <p:cNvSpPr>
                <a:spLocks/>
              </p:cNvSpPr>
              <p:nvPr userDrawn="1"/>
            </p:nvSpPr>
            <p:spPr bwMode="auto">
              <a:xfrm>
                <a:off x="7793037" y="6440488"/>
                <a:ext cx="730250" cy="731837"/>
              </a:xfrm>
              <a:custGeom>
                <a:avLst/>
                <a:gdLst>
                  <a:gd name="T0" fmla="*/ 199 w 199"/>
                  <a:gd name="T1" fmla="*/ 0 h 199"/>
                  <a:gd name="T2" fmla="*/ 0 w 199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199" y="0"/>
                    </a:moveTo>
                    <a:cubicBezTo>
                      <a:pt x="89" y="0"/>
                      <a:pt x="0" y="89"/>
                      <a:pt x="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8" name="Freeform 897"/>
              <p:cNvSpPr>
                <a:spLocks/>
              </p:cNvSpPr>
              <p:nvPr userDrawn="1"/>
            </p:nvSpPr>
            <p:spPr bwMode="auto">
              <a:xfrm>
                <a:off x="7835900" y="6488113"/>
                <a:ext cx="687388" cy="684212"/>
              </a:xfrm>
              <a:custGeom>
                <a:avLst/>
                <a:gdLst>
                  <a:gd name="T0" fmla="*/ 187 w 187"/>
                  <a:gd name="T1" fmla="*/ 0 h 186"/>
                  <a:gd name="T2" fmla="*/ 0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187" y="0"/>
                    </a:moveTo>
                    <a:cubicBezTo>
                      <a:pt x="84" y="0"/>
                      <a:pt x="0" y="83"/>
                      <a:pt x="0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9" name="Freeform 898"/>
              <p:cNvSpPr>
                <a:spLocks/>
              </p:cNvSpPr>
              <p:nvPr userDrawn="1"/>
            </p:nvSpPr>
            <p:spPr bwMode="auto">
              <a:xfrm>
                <a:off x="7883525" y="6535738"/>
                <a:ext cx="639763" cy="636587"/>
              </a:xfrm>
              <a:custGeom>
                <a:avLst/>
                <a:gdLst>
                  <a:gd name="T0" fmla="*/ 174 w 174"/>
                  <a:gd name="T1" fmla="*/ 0 h 173"/>
                  <a:gd name="T2" fmla="*/ 0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174" y="0"/>
                    </a:moveTo>
                    <a:cubicBezTo>
                      <a:pt x="78" y="0"/>
                      <a:pt x="0" y="77"/>
                      <a:pt x="0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0" name="Freeform 899"/>
              <p:cNvSpPr>
                <a:spLocks/>
              </p:cNvSpPr>
              <p:nvPr userDrawn="1"/>
            </p:nvSpPr>
            <p:spPr bwMode="auto">
              <a:xfrm>
                <a:off x="7932737" y="6583363"/>
                <a:ext cx="590550" cy="588962"/>
              </a:xfrm>
              <a:custGeom>
                <a:avLst/>
                <a:gdLst>
                  <a:gd name="T0" fmla="*/ 161 w 161"/>
                  <a:gd name="T1" fmla="*/ 0 h 160"/>
                  <a:gd name="T2" fmla="*/ 0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161" y="0"/>
                    </a:moveTo>
                    <a:cubicBezTo>
                      <a:pt x="72" y="0"/>
                      <a:pt x="0" y="71"/>
                      <a:pt x="0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1" name="Freeform 900"/>
              <p:cNvSpPr>
                <a:spLocks/>
              </p:cNvSpPr>
              <p:nvPr userDrawn="1"/>
            </p:nvSpPr>
            <p:spPr bwMode="auto">
              <a:xfrm>
                <a:off x="7980362" y="6627813"/>
                <a:ext cx="542925" cy="544512"/>
              </a:xfrm>
              <a:custGeom>
                <a:avLst/>
                <a:gdLst>
                  <a:gd name="T0" fmla="*/ 148 w 148"/>
                  <a:gd name="T1" fmla="*/ 0 h 148"/>
                  <a:gd name="T2" fmla="*/ 0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0"/>
                    </a:moveTo>
                    <a:cubicBezTo>
                      <a:pt x="66" y="0"/>
                      <a:pt x="0" y="67"/>
                      <a:pt x="0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2" name="Freeform 901"/>
              <p:cNvSpPr>
                <a:spLocks/>
              </p:cNvSpPr>
              <p:nvPr userDrawn="1"/>
            </p:nvSpPr>
            <p:spPr bwMode="auto">
              <a:xfrm>
                <a:off x="8027987" y="6675438"/>
                <a:ext cx="495300" cy="496887"/>
              </a:xfrm>
              <a:custGeom>
                <a:avLst/>
                <a:gdLst>
                  <a:gd name="T0" fmla="*/ 135 w 135"/>
                  <a:gd name="T1" fmla="*/ 0 h 135"/>
                  <a:gd name="T2" fmla="*/ 0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0"/>
                    </a:moveTo>
                    <a:cubicBezTo>
                      <a:pt x="60" y="0"/>
                      <a:pt x="0" y="61"/>
                      <a:pt x="0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3" name="Freeform 902"/>
              <p:cNvSpPr>
                <a:spLocks/>
              </p:cNvSpPr>
              <p:nvPr userDrawn="1"/>
            </p:nvSpPr>
            <p:spPr bwMode="auto">
              <a:xfrm>
                <a:off x="8075612" y="6723063"/>
                <a:ext cx="447675" cy="449262"/>
              </a:xfrm>
              <a:custGeom>
                <a:avLst/>
                <a:gdLst>
                  <a:gd name="T0" fmla="*/ 122 w 122"/>
                  <a:gd name="T1" fmla="*/ 0 h 122"/>
                  <a:gd name="T2" fmla="*/ 0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cubicBezTo>
                      <a:pt x="54" y="0"/>
                      <a:pt x="0" y="55"/>
                      <a:pt x="0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4" name="Freeform 903"/>
              <p:cNvSpPr>
                <a:spLocks/>
              </p:cNvSpPr>
              <p:nvPr userDrawn="1"/>
            </p:nvSpPr>
            <p:spPr bwMode="auto">
              <a:xfrm>
                <a:off x="8123237" y="6772275"/>
                <a:ext cx="400050" cy="400050"/>
              </a:xfrm>
              <a:custGeom>
                <a:avLst/>
                <a:gdLst>
                  <a:gd name="T0" fmla="*/ 109 w 109"/>
                  <a:gd name="T1" fmla="*/ 0 h 109"/>
                  <a:gd name="T2" fmla="*/ 0 w 109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109" y="0"/>
                    </a:moveTo>
                    <a:cubicBezTo>
                      <a:pt x="49" y="0"/>
                      <a:pt x="0" y="49"/>
                      <a:pt x="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5" name="Freeform 904"/>
              <p:cNvSpPr>
                <a:spLocks/>
              </p:cNvSpPr>
              <p:nvPr userDrawn="1"/>
            </p:nvSpPr>
            <p:spPr bwMode="auto">
              <a:xfrm>
                <a:off x="8170862" y="6819900"/>
                <a:ext cx="352425" cy="352425"/>
              </a:xfrm>
              <a:custGeom>
                <a:avLst/>
                <a:gdLst>
                  <a:gd name="T0" fmla="*/ 96 w 96"/>
                  <a:gd name="T1" fmla="*/ 0 h 96"/>
                  <a:gd name="T2" fmla="*/ 0 w 96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96" y="0"/>
                    </a:moveTo>
                    <a:cubicBezTo>
                      <a:pt x="43" y="0"/>
                      <a:pt x="0" y="43"/>
                      <a:pt x="0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6" name="Freeform 905"/>
              <p:cNvSpPr>
                <a:spLocks/>
              </p:cNvSpPr>
              <p:nvPr userDrawn="1"/>
            </p:nvSpPr>
            <p:spPr bwMode="auto">
              <a:xfrm>
                <a:off x="8215312" y="6867525"/>
                <a:ext cx="307975" cy="304800"/>
              </a:xfrm>
              <a:custGeom>
                <a:avLst/>
                <a:gdLst>
                  <a:gd name="T0" fmla="*/ 84 w 84"/>
                  <a:gd name="T1" fmla="*/ 0 h 83"/>
                  <a:gd name="T2" fmla="*/ 0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84" y="0"/>
                    </a:moveTo>
                    <a:cubicBezTo>
                      <a:pt x="38" y="0"/>
                      <a:pt x="0" y="37"/>
                      <a:pt x="0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7" name="Freeform 906"/>
              <p:cNvSpPr>
                <a:spLocks/>
              </p:cNvSpPr>
              <p:nvPr userDrawn="1"/>
            </p:nvSpPr>
            <p:spPr bwMode="auto">
              <a:xfrm>
                <a:off x="8262937" y="6915150"/>
                <a:ext cx="260350" cy="257175"/>
              </a:xfrm>
              <a:custGeom>
                <a:avLst/>
                <a:gdLst>
                  <a:gd name="T0" fmla="*/ 71 w 71"/>
                  <a:gd name="T1" fmla="*/ 0 h 70"/>
                  <a:gd name="T2" fmla="*/ 0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71" y="0"/>
                    </a:moveTo>
                    <a:cubicBezTo>
                      <a:pt x="32" y="0"/>
                      <a:pt x="0" y="31"/>
                      <a:pt x="0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3" name="Freeform 912"/>
              <p:cNvSpPr>
                <a:spLocks/>
              </p:cNvSpPr>
              <p:nvPr userDrawn="1"/>
            </p:nvSpPr>
            <p:spPr bwMode="auto">
              <a:xfrm>
                <a:off x="7553325" y="5233988"/>
                <a:ext cx="969963" cy="971550"/>
              </a:xfrm>
              <a:custGeom>
                <a:avLst/>
                <a:gdLst>
                  <a:gd name="T0" fmla="*/ 264 w 264"/>
                  <a:gd name="T1" fmla="*/ 264 h 264"/>
                  <a:gd name="T2" fmla="*/ 0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264" y="264"/>
                    </a:moveTo>
                    <a:cubicBezTo>
                      <a:pt x="264" y="118"/>
                      <a:pt x="1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4" name="Freeform 913"/>
              <p:cNvSpPr>
                <a:spLocks/>
              </p:cNvSpPr>
              <p:nvPr userDrawn="1"/>
            </p:nvSpPr>
            <p:spPr bwMode="auto">
              <a:xfrm>
                <a:off x="7553325" y="5281613"/>
                <a:ext cx="922338" cy="923925"/>
              </a:xfrm>
              <a:custGeom>
                <a:avLst/>
                <a:gdLst>
                  <a:gd name="T0" fmla="*/ 251 w 251"/>
                  <a:gd name="T1" fmla="*/ 251 h 251"/>
                  <a:gd name="T2" fmla="*/ 0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251" y="251"/>
                    </a:moveTo>
                    <a:cubicBezTo>
                      <a:pt x="251" y="112"/>
                      <a:pt x="1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5" name="Freeform 914"/>
              <p:cNvSpPr>
                <a:spLocks/>
              </p:cNvSpPr>
              <p:nvPr userDrawn="1"/>
            </p:nvSpPr>
            <p:spPr bwMode="auto">
              <a:xfrm>
                <a:off x="7553325" y="5329238"/>
                <a:ext cx="874713" cy="876300"/>
              </a:xfrm>
              <a:custGeom>
                <a:avLst/>
                <a:gdLst>
                  <a:gd name="T0" fmla="*/ 238 w 238"/>
                  <a:gd name="T1" fmla="*/ 238 h 238"/>
                  <a:gd name="T2" fmla="*/ 0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238" y="238"/>
                    </a:moveTo>
                    <a:cubicBezTo>
                      <a:pt x="238" y="106"/>
                      <a:pt x="1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6" name="Freeform 915"/>
              <p:cNvSpPr>
                <a:spLocks/>
              </p:cNvSpPr>
              <p:nvPr userDrawn="1"/>
            </p:nvSpPr>
            <p:spPr bwMode="auto">
              <a:xfrm>
                <a:off x="7553325" y="5373688"/>
                <a:ext cx="827088" cy="831850"/>
              </a:xfrm>
              <a:custGeom>
                <a:avLst/>
                <a:gdLst>
                  <a:gd name="T0" fmla="*/ 225 w 225"/>
                  <a:gd name="T1" fmla="*/ 226 h 226"/>
                  <a:gd name="T2" fmla="*/ 0 w 225"/>
                  <a:gd name="T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6">
                    <a:moveTo>
                      <a:pt x="225" y="226"/>
                    </a:moveTo>
                    <a:cubicBezTo>
                      <a:pt x="225" y="101"/>
                      <a:pt x="1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7" name="Freeform 916"/>
              <p:cNvSpPr>
                <a:spLocks/>
              </p:cNvSpPr>
              <p:nvPr userDrawn="1"/>
            </p:nvSpPr>
            <p:spPr bwMode="auto">
              <a:xfrm>
                <a:off x="7553325" y="5421313"/>
                <a:ext cx="782638" cy="784225"/>
              </a:xfrm>
              <a:custGeom>
                <a:avLst/>
                <a:gdLst>
                  <a:gd name="T0" fmla="*/ 213 w 213"/>
                  <a:gd name="T1" fmla="*/ 213 h 213"/>
                  <a:gd name="T2" fmla="*/ 0 w 213"/>
                  <a:gd name="T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3">
                    <a:moveTo>
                      <a:pt x="213" y="213"/>
                    </a:moveTo>
                    <a:cubicBezTo>
                      <a:pt x="213" y="95"/>
                      <a:pt x="1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8" name="Freeform 917"/>
              <p:cNvSpPr>
                <a:spLocks/>
              </p:cNvSpPr>
              <p:nvPr userDrawn="1"/>
            </p:nvSpPr>
            <p:spPr bwMode="auto">
              <a:xfrm>
                <a:off x="7553325" y="5468938"/>
                <a:ext cx="735013" cy="736600"/>
              </a:xfrm>
              <a:custGeom>
                <a:avLst/>
                <a:gdLst>
                  <a:gd name="T0" fmla="*/ 200 w 200"/>
                  <a:gd name="T1" fmla="*/ 200 h 200"/>
                  <a:gd name="T2" fmla="*/ 0 w 200"/>
                  <a:gd name="T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200">
                    <a:moveTo>
                      <a:pt x="200" y="200"/>
                    </a:moveTo>
                    <a:cubicBezTo>
                      <a:pt x="200" y="89"/>
                      <a:pt x="1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9" name="Freeform 918"/>
              <p:cNvSpPr>
                <a:spLocks/>
              </p:cNvSpPr>
              <p:nvPr userDrawn="1"/>
            </p:nvSpPr>
            <p:spPr bwMode="auto">
              <a:xfrm>
                <a:off x="7553325" y="5516563"/>
                <a:ext cx="687388" cy="688975"/>
              </a:xfrm>
              <a:custGeom>
                <a:avLst/>
                <a:gdLst>
                  <a:gd name="T0" fmla="*/ 187 w 187"/>
                  <a:gd name="T1" fmla="*/ 187 h 187"/>
                  <a:gd name="T2" fmla="*/ 0 w 187"/>
                  <a:gd name="T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7">
                    <a:moveTo>
                      <a:pt x="187" y="187"/>
                    </a:moveTo>
                    <a:cubicBezTo>
                      <a:pt x="187" y="83"/>
                      <a:pt x="103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0" name="Freeform 919"/>
              <p:cNvSpPr>
                <a:spLocks/>
              </p:cNvSpPr>
              <p:nvPr userDrawn="1"/>
            </p:nvSpPr>
            <p:spPr bwMode="auto">
              <a:xfrm>
                <a:off x="7553325" y="5564188"/>
                <a:ext cx="639763" cy="641350"/>
              </a:xfrm>
              <a:custGeom>
                <a:avLst/>
                <a:gdLst>
                  <a:gd name="T0" fmla="*/ 174 w 174"/>
                  <a:gd name="T1" fmla="*/ 174 h 174"/>
                  <a:gd name="T2" fmla="*/ 0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174" y="174"/>
                    </a:moveTo>
                    <a:cubicBezTo>
                      <a:pt x="174" y="78"/>
                      <a:pt x="9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1" name="Freeform 920"/>
              <p:cNvSpPr>
                <a:spLocks/>
              </p:cNvSpPr>
              <p:nvPr userDrawn="1"/>
            </p:nvSpPr>
            <p:spPr bwMode="auto">
              <a:xfrm>
                <a:off x="7553325" y="5613400"/>
                <a:ext cx="592138" cy="592137"/>
              </a:xfrm>
              <a:custGeom>
                <a:avLst/>
                <a:gdLst>
                  <a:gd name="T0" fmla="*/ 161 w 161"/>
                  <a:gd name="T1" fmla="*/ 161 h 161"/>
                  <a:gd name="T2" fmla="*/ 0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161" y="161"/>
                    </a:moveTo>
                    <a:cubicBezTo>
                      <a:pt x="161" y="72"/>
                      <a:pt x="8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2" name="Freeform 921"/>
              <p:cNvSpPr>
                <a:spLocks/>
              </p:cNvSpPr>
              <p:nvPr userDrawn="1"/>
            </p:nvSpPr>
            <p:spPr bwMode="auto">
              <a:xfrm>
                <a:off x="7553325" y="5661025"/>
                <a:ext cx="544513" cy="544512"/>
              </a:xfrm>
              <a:custGeom>
                <a:avLst/>
                <a:gdLst>
                  <a:gd name="T0" fmla="*/ 148 w 148"/>
                  <a:gd name="T1" fmla="*/ 148 h 148"/>
                  <a:gd name="T2" fmla="*/ 0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148" y="148"/>
                    </a:moveTo>
                    <a:cubicBezTo>
                      <a:pt x="148" y="66"/>
                      <a:pt x="8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3" name="Freeform 922"/>
              <p:cNvSpPr>
                <a:spLocks/>
              </p:cNvSpPr>
              <p:nvPr userDrawn="1"/>
            </p:nvSpPr>
            <p:spPr bwMode="auto">
              <a:xfrm>
                <a:off x="7553325" y="5708650"/>
                <a:ext cx="496888" cy="496887"/>
              </a:xfrm>
              <a:custGeom>
                <a:avLst/>
                <a:gdLst>
                  <a:gd name="T0" fmla="*/ 135 w 135"/>
                  <a:gd name="T1" fmla="*/ 135 h 135"/>
                  <a:gd name="T2" fmla="*/ 0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135" y="135"/>
                    </a:moveTo>
                    <a:cubicBezTo>
                      <a:pt x="135" y="60"/>
                      <a:pt x="7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4" name="Freeform 923"/>
              <p:cNvSpPr>
                <a:spLocks/>
              </p:cNvSpPr>
              <p:nvPr userDrawn="1"/>
            </p:nvSpPr>
            <p:spPr bwMode="auto">
              <a:xfrm>
                <a:off x="7553325" y="5753100"/>
                <a:ext cx="449263" cy="452437"/>
              </a:xfrm>
              <a:custGeom>
                <a:avLst/>
                <a:gdLst>
                  <a:gd name="T0" fmla="*/ 122 w 122"/>
                  <a:gd name="T1" fmla="*/ 123 h 123"/>
                  <a:gd name="T2" fmla="*/ 0 w 122"/>
                  <a:gd name="T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3">
                    <a:moveTo>
                      <a:pt x="122" y="123"/>
                    </a:moveTo>
                    <a:cubicBezTo>
                      <a:pt x="122" y="55"/>
                      <a:pt x="6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5" name="Freeform 924"/>
              <p:cNvSpPr>
                <a:spLocks/>
              </p:cNvSpPr>
              <p:nvPr userDrawn="1"/>
            </p:nvSpPr>
            <p:spPr bwMode="auto">
              <a:xfrm>
                <a:off x="7553325" y="5800725"/>
                <a:ext cx="404813" cy="404812"/>
              </a:xfrm>
              <a:custGeom>
                <a:avLst/>
                <a:gdLst>
                  <a:gd name="T0" fmla="*/ 110 w 110"/>
                  <a:gd name="T1" fmla="*/ 110 h 110"/>
                  <a:gd name="T2" fmla="*/ 0 w 110"/>
                  <a:gd name="T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10">
                    <a:moveTo>
                      <a:pt x="110" y="110"/>
                    </a:moveTo>
                    <a:cubicBezTo>
                      <a:pt x="110" y="49"/>
                      <a:pt x="6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6" name="Freeform 925"/>
              <p:cNvSpPr>
                <a:spLocks/>
              </p:cNvSpPr>
              <p:nvPr userDrawn="1"/>
            </p:nvSpPr>
            <p:spPr bwMode="auto">
              <a:xfrm>
                <a:off x="7553325" y="5848350"/>
                <a:ext cx="357188" cy="357187"/>
              </a:xfrm>
              <a:custGeom>
                <a:avLst/>
                <a:gdLst>
                  <a:gd name="T0" fmla="*/ 97 w 97"/>
                  <a:gd name="T1" fmla="*/ 97 h 97"/>
                  <a:gd name="T2" fmla="*/ 0 w 97"/>
                  <a:gd name="T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7">
                    <a:moveTo>
                      <a:pt x="97" y="97"/>
                    </a:moveTo>
                    <a:cubicBezTo>
                      <a:pt x="97" y="43"/>
                      <a:pt x="5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7" name="Freeform 926"/>
              <p:cNvSpPr>
                <a:spLocks/>
              </p:cNvSpPr>
              <p:nvPr userDrawn="1"/>
            </p:nvSpPr>
            <p:spPr bwMode="auto">
              <a:xfrm>
                <a:off x="7553325" y="5895975"/>
                <a:ext cx="309563" cy="309562"/>
              </a:xfrm>
              <a:custGeom>
                <a:avLst/>
                <a:gdLst>
                  <a:gd name="T0" fmla="*/ 84 w 84"/>
                  <a:gd name="T1" fmla="*/ 84 h 84"/>
                  <a:gd name="T2" fmla="*/ 0 w 84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4">
                    <a:moveTo>
                      <a:pt x="84" y="84"/>
                    </a:moveTo>
                    <a:cubicBezTo>
                      <a:pt x="84" y="37"/>
                      <a:pt x="46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8" name="Freeform 927"/>
              <p:cNvSpPr>
                <a:spLocks/>
              </p:cNvSpPr>
              <p:nvPr userDrawn="1"/>
            </p:nvSpPr>
            <p:spPr bwMode="auto">
              <a:xfrm>
                <a:off x="7553325" y="5943600"/>
                <a:ext cx="261938" cy="261937"/>
              </a:xfrm>
              <a:custGeom>
                <a:avLst/>
                <a:gdLst>
                  <a:gd name="T0" fmla="*/ 71 w 71"/>
                  <a:gd name="T1" fmla="*/ 71 h 71"/>
                  <a:gd name="T2" fmla="*/ 0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71" y="71"/>
                    </a:moveTo>
                    <a:cubicBezTo>
                      <a:pt x="71" y="31"/>
                      <a:pt x="39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9" name="Freeform 928"/>
              <p:cNvSpPr>
                <a:spLocks/>
              </p:cNvSpPr>
              <p:nvPr userDrawn="1"/>
            </p:nvSpPr>
            <p:spPr bwMode="auto">
              <a:xfrm>
                <a:off x="7553325" y="5991225"/>
                <a:ext cx="212725" cy="214312"/>
              </a:xfrm>
              <a:custGeom>
                <a:avLst/>
                <a:gdLst>
                  <a:gd name="T0" fmla="*/ 58 w 58"/>
                  <a:gd name="T1" fmla="*/ 58 h 58"/>
                  <a:gd name="T2" fmla="*/ 0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58" y="58"/>
                    </a:moveTo>
                    <a:cubicBezTo>
                      <a:pt x="58" y="26"/>
                      <a:pt x="32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0" name="Freeform 929"/>
              <p:cNvSpPr>
                <a:spLocks/>
              </p:cNvSpPr>
              <p:nvPr userDrawn="1"/>
            </p:nvSpPr>
            <p:spPr bwMode="auto">
              <a:xfrm>
                <a:off x="7553325" y="6038850"/>
                <a:ext cx="165100" cy="166687"/>
              </a:xfrm>
              <a:custGeom>
                <a:avLst/>
                <a:gdLst>
                  <a:gd name="T0" fmla="*/ 45 w 45"/>
                  <a:gd name="T1" fmla="*/ 45 h 45"/>
                  <a:gd name="T2" fmla="*/ 0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45" y="45"/>
                    </a:moveTo>
                    <a:cubicBezTo>
                      <a:pt x="45" y="20"/>
                      <a:pt x="25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1" name="Freeform 930"/>
              <p:cNvSpPr>
                <a:spLocks/>
              </p:cNvSpPr>
              <p:nvPr userDrawn="1"/>
            </p:nvSpPr>
            <p:spPr bwMode="auto">
              <a:xfrm>
                <a:off x="7553325" y="6083300"/>
                <a:ext cx="117475" cy="122237"/>
              </a:xfrm>
              <a:custGeom>
                <a:avLst/>
                <a:gdLst>
                  <a:gd name="T0" fmla="*/ 32 w 32"/>
                  <a:gd name="T1" fmla="*/ 33 h 33"/>
                  <a:gd name="T2" fmla="*/ 0 w 32"/>
                  <a:gd name="T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3">
                    <a:moveTo>
                      <a:pt x="32" y="33"/>
                    </a:moveTo>
                    <a:cubicBezTo>
                      <a:pt x="32" y="15"/>
                      <a:pt x="18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2" name="Freeform 931"/>
              <p:cNvSpPr>
                <a:spLocks/>
              </p:cNvSpPr>
              <p:nvPr userDrawn="1"/>
            </p:nvSpPr>
            <p:spPr bwMode="auto">
              <a:xfrm>
                <a:off x="7553325" y="6130925"/>
                <a:ext cx="73025" cy="74612"/>
              </a:xfrm>
              <a:custGeom>
                <a:avLst/>
                <a:gdLst>
                  <a:gd name="T0" fmla="*/ 20 w 20"/>
                  <a:gd name="T1" fmla="*/ 20 h 20"/>
                  <a:gd name="T2" fmla="*/ 0 w 20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20">
                    <a:moveTo>
                      <a:pt x="20" y="20"/>
                    </a:moveTo>
                    <a:cubicBezTo>
                      <a:pt x="20" y="9"/>
                      <a:pt x="11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3" name="Freeform 932"/>
              <p:cNvSpPr>
                <a:spLocks/>
              </p:cNvSpPr>
              <p:nvPr userDrawn="1"/>
            </p:nvSpPr>
            <p:spPr bwMode="auto">
              <a:xfrm>
                <a:off x="7553325" y="6178550"/>
                <a:ext cx="25400" cy="26987"/>
              </a:xfrm>
              <a:custGeom>
                <a:avLst/>
                <a:gdLst>
                  <a:gd name="T0" fmla="*/ 7 w 7"/>
                  <a:gd name="T1" fmla="*/ 7 h 7"/>
                  <a:gd name="T2" fmla="*/ 0 w 7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7">
                    <a:moveTo>
                      <a:pt x="7" y="7"/>
                    </a:move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4" name="Freeform 933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966788" cy="971550"/>
              </a:xfrm>
              <a:custGeom>
                <a:avLst/>
                <a:gdLst>
                  <a:gd name="T0" fmla="*/ 0 w 263"/>
                  <a:gd name="T1" fmla="*/ 264 h 264"/>
                  <a:gd name="T2" fmla="*/ 263 w 263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3" h="264">
                    <a:moveTo>
                      <a:pt x="0" y="264"/>
                    </a:moveTo>
                    <a:cubicBezTo>
                      <a:pt x="145" y="264"/>
                      <a:pt x="263" y="146"/>
                      <a:pt x="26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5" name="Freeform 934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919163" cy="923925"/>
              </a:xfrm>
              <a:custGeom>
                <a:avLst/>
                <a:gdLst>
                  <a:gd name="T0" fmla="*/ 0 w 250"/>
                  <a:gd name="T1" fmla="*/ 251 h 251"/>
                  <a:gd name="T2" fmla="*/ 250 w 250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0" h="251">
                    <a:moveTo>
                      <a:pt x="0" y="251"/>
                    </a:moveTo>
                    <a:cubicBezTo>
                      <a:pt x="138" y="251"/>
                      <a:pt x="250" y="139"/>
                      <a:pt x="25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6" name="Freeform 935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874713" cy="874712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1" y="238"/>
                      <a:pt x="238" y="131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7" name="Freeform 936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827088" cy="827087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4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8" name="Freeform 937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779463" cy="779462"/>
              </a:xfrm>
              <a:custGeom>
                <a:avLst/>
                <a:gdLst>
                  <a:gd name="T0" fmla="*/ 0 w 212"/>
                  <a:gd name="T1" fmla="*/ 212 h 212"/>
                  <a:gd name="T2" fmla="*/ 212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212"/>
                    </a:moveTo>
                    <a:cubicBezTo>
                      <a:pt x="117" y="212"/>
                      <a:pt x="212" y="117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9" name="Freeform 938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731838" cy="731837"/>
              </a:xfrm>
              <a:custGeom>
                <a:avLst/>
                <a:gdLst>
                  <a:gd name="T0" fmla="*/ 0 w 199"/>
                  <a:gd name="T1" fmla="*/ 199 h 199"/>
                  <a:gd name="T2" fmla="*/ 199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199"/>
                    </a:moveTo>
                    <a:cubicBezTo>
                      <a:pt x="110" y="199"/>
                      <a:pt x="199" y="110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0" name="Freeform 939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684213" cy="684212"/>
              </a:xfrm>
              <a:custGeom>
                <a:avLst/>
                <a:gdLst>
                  <a:gd name="T0" fmla="*/ 0 w 186"/>
                  <a:gd name="T1" fmla="*/ 186 h 186"/>
                  <a:gd name="T2" fmla="*/ 186 w 186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6" h="186">
                    <a:moveTo>
                      <a:pt x="0" y="186"/>
                    </a:moveTo>
                    <a:cubicBezTo>
                      <a:pt x="103" y="186"/>
                      <a:pt x="186" y="103"/>
                      <a:pt x="18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1" name="Freeform 940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636588" cy="639762"/>
              </a:xfrm>
              <a:custGeom>
                <a:avLst/>
                <a:gdLst>
                  <a:gd name="T0" fmla="*/ 0 w 173"/>
                  <a:gd name="T1" fmla="*/ 174 h 174"/>
                  <a:gd name="T2" fmla="*/ 173 w 173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3" h="174">
                    <a:moveTo>
                      <a:pt x="0" y="174"/>
                    </a:moveTo>
                    <a:cubicBezTo>
                      <a:pt x="96" y="174"/>
                      <a:pt x="173" y="96"/>
                      <a:pt x="17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2" name="Freeform 941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588963" cy="592137"/>
              </a:xfrm>
              <a:custGeom>
                <a:avLst/>
                <a:gdLst>
                  <a:gd name="T0" fmla="*/ 0 w 160"/>
                  <a:gd name="T1" fmla="*/ 161 h 161"/>
                  <a:gd name="T2" fmla="*/ 160 w 160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0" h="161">
                    <a:moveTo>
                      <a:pt x="0" y="161"/>
                    </a:moveTo>
                    <a:cubicBezTo>
                      <a:pt x="88" y="161"/>
                      <a:pt x="160" y="89"/>
                      <a:pt x="16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3" name="Freeform 942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541338" cy="544512"/>
              </a:xfrm>
              <a:custGeom>
                <a:avLst/>
                <a:gdLst>
                  <a:gd name="T0" fmla="*/ 0 w 147"/>
                  <a:gd name="T1" fmla="*/ 148 h 148"/>
                  <a:gd name="T2" fmla="*/ 147 w 147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7" h="148">
                    <a:moveTo>
                      <a:pt x="0" y="148"/>
                    </a:moveTo>
                    <a:cubicBezTo>
                      <a:pt x="81" y="148"/>
                      <a:pt x="147" y="82"/>
                      <a:pt x="14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4" name="Freeform 943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496888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4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5" name="Freeform 944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449263" cy="449262"/>
              </a:xfrm>
              <a:custGeom>
                <a:avLst/>
                <a:gdLst>
                  <a:gd name="T0" fmla="*/ 0 w 122"/>
                  <a:gd name="T1" fmla="*/ 122 h 122"/>
                  <a:gd name="T2" fmla="*/ 122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122"/>
                    </a:moveTo>
                    <a:cubicBezTo>
                      <a:pt x="67" y="122"/>
                      <a:pt x="122" y="67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6" name="Freeform 945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401638" cy="401637"/>
              </a:xfrm>
              <a:custGeom>
                <a:avLst/>
                <a:gdLst>
                  <a:gd name="T0" fmla="*/ 0 w 109"/>
                  <a:gd name="T1" fmla="*/ 109 h 109"/>
                  <a:gd name="T2" fmla="*/ 109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109"/>
                    </a:moveTo>
                    <a:cubicBezTo>
                      <a:pt x="60" y="109"/>
                      <a:pt x="109" y="60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7" name="Freeform 946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354013" cy="352425"/>
              </a:xfrm>
              <a:custGeom>
                <a:avLst/>
                <a:gdLst>
                  <a:gd name="T0" fmla="*/ 0 w 96"/>
                  <a:gd name="T1" fmla="*/ 96 h 96"/>
                  <a:gd name="T2" fmla="*/ 96 w 96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6" h="96">
                    <a:moveTo>
                      <a:pt x="0" y="96"/>
                    </a:moveTo>
                    <a:cubicBezTo>
                      <a:pt x="53" y="96"/>
                      <a:pt x="96" y="53"/>
                      <a:pt x="9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8" name="Freeform 947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304800" cy="304800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cubicBezTo>
                      <a:pt x="46" y="83"/>
                      <a:pt x="83" y="46"/>
                      <a:pt x="83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9" name="Freeform 948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257175" cy="260350"/>
              </a:xfrm>
              <a:custGeom>
                <a:avLst/>
                <a:gdLst>
                  <a:gd name="T0" fmla="*/ 0 w 70"/>
                  <a:gd name="T1" fmla="*/ 71 h 71"/>
                  <a:gd name="T2" fmla="*/ 70 w 70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71">
                    <a:moveTo>
                      <a:pt x="0" y="71"/>
                    </a:moveTo>
                    <a:cubicBezTo>
                      <a:pt x="39" y="71"/>
                      <a:pt x="70" y="39"/>
                      <a:pt x="70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0" name="Freeform 949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209550" cy="212725"/>
              </a:xfrm>
              <a:custGeom>
                <a:avLst/>
                <a:gdLst>
                  <a:gd name="T0" fmla="*/ 0 w 57"/>
                  <a:gd name="T1" fmla="*/ 58 h 58"/>
                  <a:gd name="T2" fmla="*/ 57 w 57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7" h="58">
                    <a:moveTo>
                      <a:pt x="0" y="58"/>
                    </a:moveTo>
                    <a:cubicBezTo>
                      <a:pt x="32" y="58"/>
                      <a:pt x="57" y="32"/>
                      <a:pt x="5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1" name="Freeform 950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165100" cy="165100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4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2" name="Freeform 951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7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3" name="Freeform 952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69850" cy="69850"/>
              </a:xfrm>
              <a:custGeom>
                <a:avLst/>
                <a:gdLst>
                  <a:gd name="T0" fmla="*/ 0 w 19"/>
                  <a:gd name="T1" fmla="*/ 19 h 19"/>
                  <a:gd name="T2" fmla="*/ 19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19"/>
                    </a:moveTo>
                    <a:cubicBezTo>
                      <a:pt x="10" y="19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4" name="Freeform 953"/>
              <p:cNvSpPr>
                <a:spLocks/>
              </p:cNvSpPr>
              <p:nvPr userDrawn="1"/>
            </p:nvSpPr>
            <p:spPr bwMode="auto">
              <a:xfrm>
                <a:off x="6586537" y="5233988"/>
                <a:ext cx="22225" cy="22225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cubicBezTo>
                      <a:pt x="3" y="6"/>
                      <a:pt x="6" y="3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5" name="Freeform 954"/>
              <p:cNvSpPr>
                <a:spLocks/>
              </p:cNvSpPr>
              <p:nvPr userDrawn="1"/>
            </p:nvSpPr>
            <p:spPr bwMode="auto">
              <a:xfrm>
                <a:off x="8523287" y="6205538"/>
                <a:ext cx="969963" cy="966787"/>
              </a:xfrm>
              <a:custGeom>
                <a:avLst/>
                <a:gdLst>
                  <a:gd name="T0" fmla="*/ 0 w 264"/>
                  <a:gd name="T1" fmla="*/ 0 h 263"/>
                  <a:gd name="T2" fmla="*/ 264 w 264"/>
                  <a:gd name="T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3">
                    <a:moveTo>
                      <a:pt x="0" y="0"/>
                    </a:moveTo>
                    <a:cubicBezTo>
                      <a:pt x="0" y="145"/>
                      <a:pt x="118" y="263"/>
                      <a:pt x="264" y="26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6" name="Freeform 955"/>
              <p:cNvSpPr>
                <a:spLocks/>
              </p:cNvSpPr>
              <p:nvPr userDrawn="1"/>
            </p:nvSpPr>
            <p:spPr bwMode="auto">
              <a:xfrm>
                <a:off x="8570912" y="6205538"/>
                <a:ext cx="922338" cy="919162"/>
              </a:xfrm>
              <a:custGeom>
                <a:avLst/>
                <a:gdLst>
                  <a:gd name="T0" fmla="*/ 0 w 251"/>
                  <a:gd name="T1" fmla="*/ 0 h 250"/>
                  <a:gd name="T2" fmla="*/ 251 w 251"/>
                  <a:gd name="T3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0">
                    <a:moveTo>
                      <a:pt x="0" y="0"/>
                    </a:moveTo>
                    <a:cubicBezTo>
                      <a:pt x="0" y="138"/>
                      <a:pt x="112" y="250"/>
                      <a:pt x="251" y="25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7" name="Freeform 956"/>
              <p:cNvSpPr>
                <a:spLocks/>
              </p:cNvSpPr>
              <p:nvPr userDrawn="1"/>
            </p:nvSpPr>
            <p:spPr bwMode="auto">
              <a:xfrm>
                <a:off x="8620125" y="6205538"/>
                <a:ext cx="873125" cy="874712"/>
              </a:xfrm>
              <a:custGeom>
                <a:avLst/>
                <a:gdLst>
                  <a:gd name="T0" fmla="*/ 0 w 238"/>
                  <a:gd name="T1" fmla="*/ 0 h 238"/>
                  <a:gd name="T2" fmla="*/ 238 w 238"/>
                  <a:gd name="T3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0"/>
                    </a:moveTo>
                    <a:cubicBezTo>
                      <a:pt x="0" y="131"/>
                      <a:pt x="106" y="238"/>
                      <a:pt x="238" y="23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8" name="Freeform 957"/>
              <p:cNvSpPr>
                <a:spLocks/>
              </p:cNvSpPr>
              <p:nvPr userDrawn="1"/>
            </p:nvSpPr>
            <p:spPr bwMode="auto">
              <a:xfrm>
                <a:off x="8667750" y="6205538"/>
                <a:ext cx="825500" cy="827087"/>
              </a:xfrm>
              <a:custGeom>
                <a:avLst/>
                <a:gdLst>
                  <a:gd name="T0" fmla="*/ 0 w 225"/>
                  <a:gd name="T1" fmla="*/ 0 h 225"/>
                  <a:gd name="T2" fmla="*/ 225 w 225"/>
                  <a:gd name="T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0"/>
                    </a:moveTo>
                    <a:cubicBezTo>
                      <a:pt x="0" y="124"/>
                      <a:pt x="100" y="225"/>
                      <a:pt x="225" y="22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9" name="Freeform 958"/>
              <p:cNvSpPr>
                <a:spLocks/>
              </p:cNvSpPr>
              <p:nvPr userDrawn="1"/>
            </p:nvSpPr>
            <p:spPr bwMode="auto">
              <a:xfrm>
                <a:off x="8710612" y="6205538"/>
                <a:ext cx="782638" cy="779462"/>
              </a:xfrm>
              <a:custGeom>
                <a:avLst/>
                <a:gdLst>
                  <a:gd name="T0" fmla="*/ 0 w 213"/>
                  <a:gd name="T1" fmla="*/ 0 h 212"/>
                  <a:gd name="T2" fmla="*/ 213 w 213"/>
                  <a:gd name="T3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3" h="212">
                    <a:moveTo>
                      <a:pt x="0" y="0"/>
                    </a:moveTo>
                    <a:cubicBezTo>
                      <a:pt x="0" y="117"/>
                      <a:pt x="95" y="212"/>
                      <a:pt x="213" y="21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0" name="Freeform 959"/>
              <p:cNvSpPr>
                <a:spLocks/>
              </p:cNvSpPr>
              <p:nvPr userDrawn="1"/>
            </p:nvSpPr>
            <p:spPr bwMode="auto">
              <a:xfrm>
                <a:off x="8758237" y="6205538"/>
                <a:ext cx="735013" cy="731837"/>
              </a:xfrm>
              <a:custGeom>
                <a:avLst/>
                <a:gdLst>
                  <a:gd name="T0" fmla="*/ 0 w 200"/>
                  <a:gd name="T1" fmla="*/ 0 h 199"/>
                  <a:gd name="T2" fmla="*/ 200 w 200"/>
                  <a:gd name="T3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0" h="199">
                    <a:moveTo>
                      <a:pt x="0" y="0"/>
                    </a:moveTo>
                    <a:cubicBezTo>
                      <a:pt x="0" y="110"/>
                      <a:pt x="90" y="199"/>
                      <a:pt x="200" y="19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1" name="Freeform 960"/>
              <p:cNvSpPr>
                <a:spLocks/>
              </p:cNvSpPr>
              <p:nvPr userDrawn="1"/>
            </p:nvSpPr>
            <p:spPr bwMode="auto">
              <a:xfrm>
                <a:off x="8807450" y="6205538"/>
                <a:ext cx="685800" cy="684212"/>
              </a:xfrm>
              <a:custGeom>
                <a:avLst/>
                <a:gdLst>
                  <a:gd name="T0" fmla="*/ 0 w 187"/>
                  <a:gd name="T1" fmla="*/ 0 h 186"/>
                  <a:gd name="T2" fmla="*/ 187 w 187"/>
                  <a:gd name="T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0"/>
                    </a:moveTo>
                    <a:cubicBezTo>
                      <a:pt x="0" y="103"/>
                      <a:pt x="84" y="186"/>
                      <a:pt x="187" y="18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2" name="Freeform 961"/>
              <p:cNvSpPr>
                <a:spLocks/>
              </p:cNvSpPr>
              <p:nvPr userDrawn="1"/>
            </p:nvSpPr>
            <p:spPr bwMode="auto">
              <a:xfrm>
                <a:off x="8855075" y="6205538"/>
                <a:ext cx="638175" cy="636587"/>
              </a:xfrm>
              <a:custGeom>
                <a:avLst/>
                <a:gdLst>
                  <a:gd name="T0" fmla="*/ 0 w 174"/>
                  <a:gd name="T1" fmla="*/ 0 h 173"/>
                  <a:gd name="T2" fmla="*/ 174 w 174"/>
                  <a:gd name="T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3">
                    <a:moveTo>
                      <a:pt x="0" y="0"/>
                    </a:moveTo>
                    <a:cubicBezTo>
                      <a:pt x="0" y="96"/>
                      <a:pt x="78" y="173"/>
                      <a:pt x="174" y="17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3" name="Freeform 962"/>
              <p:cNvSpPr>
                <a:spLocks/>
              </p:cNvSpPr>
              <p:nvPr userDrawn="1"/>
            </p:nvSpPr>
            <p:spPr bwMode="auto">
              <a:xfrm>
                <a:off x="8902700" y="6205538"/>
                <a:ext cx="590550" cy="588962"/>
              </a:xfrm>
              <a:custGeom>
                <a:avLst/>
                <a:gdLst>
                  <a:gd name="T0" fmla="*/ 0 w 161"/>
                  <a:gd name="T1" fmla="*/ 0 h 160"/>
                  <a:gd name="T2" fmla="*/ 161 w 161"/>
                  <a:gd name="T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0">
                    <a:moveTo>
                      <a:pt x="0" y="0"/>
                    </a:moveTo>
                    <a:cubicBezTo>
                      <a:pt x="0" y="88"/>
                      <a:pt x="72" y="160"/>
                      <a:pt x="161" y="16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4" name="Freeform 963"/>
              <p:cNvSpPr>
                <a:spLocks/>
              </p:cNvSpPr>
              <p:nvPr userDrawn="1"/>
            </p:nvSpPr>
            <p:spPr bwMode="auto">
              <a:xfrm>
                <a:off x="8950325" y="6205538"/>
                <a:ext cx="542925" cy="544512"/>
              </a:xfrm>
              <a:custGeom>
                <a:avLst/>
                <a:gdLst>
                  <a:gd name="T0" fmla="*/ 0 w 148"/>
                  <a:gd name="T1" fmla="*/ 0 h 148"/>
                  <a:gd name="T2" fmla="*/ 148 w 148"/>
                  <a:gd name="T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0"/>
                    </a:moveTo>
                    <a:cubicBezTo>
                      <a:pt x="0" y="81"/>
                      <a:pt x="66" y="148"/>
                      <a:pt x="148" y="148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5" name="Freeform 964"/>
              <p:cNvSpPr>
                <a:spLocks/>
              </p:cNvSpPr>
              <p:nvPr userDrawn="1"/>
            </p:nvSpPr>
            <p:spPr bwMode="auto">
              <a:xfrm>
                <a:off x="8997950" y="6205538"/>
                <a:ext cx="495300" cy="496887"/>
              </a:xfrm>
              <a:custGeom>
                <a:avLst/>
                <a:gdLst>
                  <a:gd name="T0" fmla="*/ 0 w 135"/>
                  <a:gd name="T1" fmla="*/ 0 h 135"/>
                  <a:gd name="T2" fmla="*/ 135 w 135"/>
                  <a:gd name="T3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0"/>
                    </a:moveTo>
                    <a:cubicBezTo>
                      <a:pt x="0" y="74"/>
                      <a:pt x="60" y="135"/>
                      <a:pt x="135" y="135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6" name="Freeform 965"/>
              <p:cNvSpPr>
                <a:spLocks/>
              </p:cNvSpPr>
              <p:nvPr userDrawn="1"/>
            </p:nvSpPr>
            <p:spPr bwMode="auto">
              <a:xfrm>
                <a:off x="9045575" y="6205538"/>
                <a:ext cx="447675" cy="447675"/>
              </a:xfrm>
              <a:custGeom>
                <a:avLst/>
                <a:gdLst>
                  <a:gd name="T0" fmla="*/ 0 w 122"/>
                  <a:gd name="T1" fmla="*/ 0 h 122"/>
                  <a:gd name="T2" fmla="*/ 122 w 122"/>
                  <a:gd name="T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0"/>
                    </a:moveTo>
                    <a:cubicBezTo>
                      <a:pt x="0" y="67"/>
                      <a:pt x="54" y="122"/>
                      <a:pt x="122" y="122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7" name="Freeform 966"/>
              <p:cNvSpPr>
                <a:spLocks/>
              </p:cNvSpPr>
              <p:nvPr userDrawn="1"/>
            </p:nvSpPr>
            <p:spPr bwMode="auto">
              <a:xfrm>
                <a:off x="9090025" y="6205538"/>
                <a:ext cx="403225" cy="400050"/>
              </a:xfrm>
              <a:custGeom>
                <a:avLst/>
                <a:gdLst>
                  <a:gd name="T0" fmla="*/ 0 w 110"/>
                  <a:gd name="T1" fmla="*/ 0 h 109"/>
                  <a:gd name="T2" fmla="*/ 110 w 110"/>
                  <a:gd name="T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0" h="109">
                    <a:moveTo>
                      <a:pt x="0" y="0"/>
                    </a:moveTo>
                    <a:cubicBezTo>
                      <a:pt x="0" y="60"/>
                      <a:pt x="49" y="109"/>
                      <a:pt x="110" y="109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8" name="Freeform 967"/>
              <p:cNvSpPr>
                <a:spLocks/>
              </p:cNvSpPr>
              <p:nvPr userDrawn="1"/>
            </p:nvSpPr>
            <p:spPr bwMode="auto">
              <a:xfrm>
                <a:off x="9137650" y="6205538"/>
                <a:ext cx="355600" cy="352425"/>
              </a:xfrm>
              <a:custGeom>
                <a:avLst/>
                <a:gdLst>
                  <a:gd name="T0" fmla="*/ 0 w 97"/>
                  <a:gd name="T1" fmla="*/ 0 h 96"/>
                  <a:gd name="T2" fmla="*/ 97 w 97"/>
                  <a:gd name="T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0"/>
                    </a:moveTo>
                    <a:cubicBezTo>
                      <a:pt x="0" y="53"/>
                      <a:pt x="43" y="96"/>
                      <a:pt x="97" y="96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9" name="Freeform 968"/>
              <p:cNvSpPr>
                <a:spLocks/>
              </p:cNvSpPr>
              <p:nvPr userDrawn="1"/>
            </p:nvSpPr>
            <p:spPr bwMode="auto">
              <a:xfrm>
                <a:off x="9185275" y="6205538"/>
                <a:ext cx="307975" cy="304800"/>
              </a:xfrm>
              <a:custGeom>
                <a:avLst/>
                <a:gdLst>
                  <a:gd name="T0" fmla="*/ 0 w 84"/>
                  <a:gd name="T1" fmla="*/ 0 h 83"/>
                  <a:gd name="T2" fmla="*/ 84 w 84"/>
                  <a:gd name="T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0"/>
                    </a:moveTo>
                    <a:cubicBezTo>
                      <a:pt x="0" y="46"/>
                      <a:pt x="38" y="83"/>
                      <a:pt x="84" y="83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30" name="Freeform 969"/>
              <p:cNvSpPr>
                <a:spLocks/>
              </p:cNvSpPr>
              <p:nvPr userDrawn="1"/>
            </p:nvSpPr>
            <p:spPr bwMode="auto">
              <a:xfrm>
                <a:off x="9232900" y="6205538"/>
                <a:ext cx="260350" cy="257175"/>
              </a:xfrm>
              <a:custGeom>
                <a:avLst/>
                <a:gdLst>
                  <a:gd name="T0" fmla="*/ 0 w 71"/>
                  <a:gd name="T1" fmla="*/ 0 h 70"/>
                  <a:gd name="T2" fmla="*/ 71 w 71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0">
                    <a:moveTo>
                      <a:pt x="0" y="0"/>
                    </a:moveTo>
                    <a:cubicBezTo>
                      <a:pt x="0" y="39"/>
                      <a:pt x="32" y="70"/>
                      <a:pt x="71" y="7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3" name="Freeform 1018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969963" cy="971550"/>
              </a:xfrm>
              <a:custGeom>
                <a:avLst/>
                <a:gdLst>
                  <a:gd name="T0" fmla="*/ 0 w 264"/>
                  <a:gd name="T1" fmla="*/ 264 h 264"/>
                  <a:gd name="T2" fmla="*/ 264 w 264"/>
                  <a:gd name="T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4" h="264">
                    <a:moveTo>
                      <a:pt x="0" y="264"/>
                    </a:moveTo>
                    <a:cubicBezTo>
                      <a:pt x="146" y="264"/>
                      <a:pt x="264" y="146"/>
                      <a:pt x="26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4" name="Freeform 1019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922338" cy="923925"/>
              </a:xfrm>
              <a:custGeom>
                <a:avLst/>
                <a:gdLst>
                  <a:gd name="T0" fmla="*/ 0 w 251"/>
                  <a:gd name="T1" fmla="*/ 251 h 251"/>
                  <a:gd name="T2" fmla="*/ 251 w 251"/>
                  <a:gd name="T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1" h="251">
                    <a:moveTo>
                      <a:pt x="0" y="251"/>
                    </a:moveTo>
                    <a:cubicBezTo>
                      <a:pt x="139" y="251"/>
                      <a:pt x="251" y="139"/>
                      <a:pt x="25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5" name="Freeform 1020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874713" cy="874712"/>
              </a:xfrm>
              <a:custGeom>
                <a:avLst/>
                <a:gdLst>
                  <a:gd name="T0" fmla="*/ 0 w 238"/>
                  <a:gd name="T1" fmla="*/ 238 h 238"/>
                  <a:gd name="T2" fmla="*/ 238 w 238"/>
                  <a:gd name="T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8" h="238">
                    <a:moveTo>
                      <a:pt x="0" y="238"/>
                    </a:moveTo>
                    <a:cubicBezTo>
                      <a:pt x="132" y="238"/>
                      <a:pt x="238" y="131"/>
                      <a:pt x="23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6" name="Freeform 1021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827088" cy="827087"/>
              </a:xfrm>
              <a:custGeom>
                <a:avLst/>
                <a:gdLst>
                  <a:gd name="T0" fmla="*/ 0 w 225"/>
                  <a:gd name="T1" fmla="*/ 225 h 225"/>
                  <a:gd name="T2" fmla="*/ 225 w 225"/>
                  <a:gd name="T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225">
                    <a:moveTo>
                      <a:pt x="0" y="225"/>
                    </a:moveTo>
                    <a:cubicBezTo>
                      <a:pt x="124" y="225"/>
                      <a:pt x="225" y="124"/>
                      <a:pt x="22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7" name="Freeform 1022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779463" cy="779462"/>
              </a:xfrm>
              <a:custGeom>
                <a:avLst/>
                <a:gdLst>
                  <a:gd name="T0" fmla="*/ 0 w 212"/>
                  <a:gd name="T1" fmla="*/ 212 h 212"/>
                  <a:gd name="T2" fmla="*/ 212 w 212"/>
                  <a:gd name="T3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2" h="212">
                    <a:moveTo>
                      <a:pt x="0" y="212"/>
                    </a:moveTo>
                    <a:cubicBezTo>
                      <a:pt x="117" y="212"/>
                      <a:pt x="212" y="117"/>
                      <a:pt x="21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8" name="Freeform 1023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731838" cy="731837"/>
              </a:xfrm>
              <a:custGeom>
                <a:avLst/>
                <a:gdLst>
                  <a:gd name="T0" fmla="*/ 0 w 199"/>
                  <a:gd name="T1" fmla="*/ 199 h 199"/>
                  <a:gd name="T2" fmla="*/ 199 w 199"/>
                  <a:gd name="T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9" h="199">
                    <a:moveTo>
                      <a:pt x="0" y="199"/>
                    </a:moveTo>
                    <a:cubicBezTo>
                      <a:pt x="110" y="199"/>
                      <a:pt x="199" y="110"/>
                      <a:pt x="19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29" name="Freeform 1024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687388" cy="684212"/>
              </a:xfrm>
              <a:custGeom>
                <a:avLst/>
                <a:gdLst>
                  <a:gd name="T0" fmla="*/ 0 w 187"/>
                  <a:gd name="T1" fmla="*/ 186 h 186"/>
                  <a:gd name="T2" fmla="*/ 187 w 187"/>
                  <a:gd name="T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7" h="186">
                    <a:moveTo>
                      <a:pt x="0" y="186"/>
                    </a:moveTo>
                    <a:cubicBezTo>
                      <a:pt x="103" y="186"/>
                      <a:pt x="187" y="103"/>
                      <a:pt x="18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0" name="Freeform 1025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639763" cy="639762"/>
              </a:xfrm>
              <a:custGeom>
                <a:avLst/>
                <a:gdLst>
                  <a:gd name="T0" fmla="*/ 0 w 174"/>
                  <a:gd name="T1" fmla="*/ 174 h 174"/>
                  <a:gd name="T2" fmla="*/ 174 w 174"/>
                  <a:gd name="T3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4" h="174">
                    <a:moveTo>
                      <a:pt x="0" y="174"/>
                    </a:moveTo>
                    <a:cubicBezTo>
                      <a:pt x="96" y="174"/>
                      <a:pt x="174" y="96"/>
                      <a:pt x="17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1" name="Freeform 1026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592138" cy="592137"/>
              </a:xfrm>
              <a:custGeom>
                <a:avLst/>
                <a:gdLst>
                  <a:gd name="T0" fmla="*/ 0 w 161"/>
                  <a:gd name="T1" fmla="*/ 161 h 161"/>
                  <a:gd name="T2" fmla="*/ 161 w 161"/>
                  <a:gd name="T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61">
                    <a:moveTo>
                      <a:pt x="0" y="161"/>
                    </a:moveTo>
                    <a:cubicBezTo>
                      <a:pt x="89" y="161"/>
                      <a:pt x="161" y="89"/>
                      <a:pt x="16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2" name="Freeform 1027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544513" cy="544512"/>
              </a:xfrm>
              <a:custGeom>
                <a:avLst/>
                <a:gdLst>
                  <a:gd name="T0" fmla="*/ 0 w 148"/>
                  <a:gd name="T1" fmla="*/ 148 h 148"/>
                  <a:gd name="T2" fmla="*/ 148 w 148"/>
                  <a:gd name="T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8" h="148">
                    <a:moveTo>
                      <a:pt x="0" y="148"/>
                    </a:moveTo>
                    <a:cubicBezTo>
                      <a:pt x="82" y="148"/>
                      <a:pt x="148" y="82"/>
                      <a:pt x="14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3" name="Freeform 1028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496888" cy="496887"/>
              </a:xfrm>
              <a:custGeom>
                <a:avLst/>
                <a:gdLst>
                  <a:gd name="T0" fmla="*/ 0 w 135"/>
                  <a:gd name="T1" fmla="*/ 135 h 135"/>
                  <a:gd name="T2" fmla="*/ 135 w 135"/>
                  <a:gd name="T3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5" h="135">
                    <a:moveTo>
                      <a:pt x="0" y="135"/>
                    </a:moveTo>
                    <a:cubicBezTo>
                      <a:pt x="75" y="135"/>
                      <a:pt x="135" y="75"/>
                      <a:pt x="13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4" name="Freeform 1029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449263" cy="449262"/>
              </a:xfrm>
              <a:custGeom>
                <a:avLst/>
                <a:gdLst>
                  <a:gd name="T0" fmla="*/ 0 w 122"/>
                  <a:gd name="T1" fmla="*/ 122 h 122"/>
                  <a:gd name="T2" fmla="*/ 122 w 122"/>
                  <a:gd name="T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22">
                    <a:moveTo>
                      <a:pt x="0" y="122"/>
                    </a:moveTo>
                    <a:cubicBezTo>
                      <a:pt x="68" y="122"/>
                      <a:pt x="122" y="67"/>
                      <a:pt x="12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5" name="Freeform 1030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401638" cy="401637"/>
              </a:xfrm>
              <a:custGeom>
                <a:avLst/>
                <a:gdLst>
                  <a:gd name="T0" fmla="*/ 0 w 109"/>
                  <a:gd name="T1" fmla="*/ 109 h 109"/>
                  <a:gd name="T2" fmla="*/ 109 w 109"/>
                  <a:gd name="T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109">
                    <a:moveTo>
                      <a:pt x="0" y="109"/>
                    </a:moveTo>
                    <a:cubicBezTo>
                      <a:pt x="60" y="109"/>
                      <a:pt x="109" y="60"/>
                      <a:pt x="10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6" name="Freeform 1031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357188" cy="352425"/>
              </a:xfrm>
              <a:custGeom>
                <a:avLst/>
                <a:gdLst>
                  <a:gd name="T0" fmla="*/ 0 w 97"/>
                  <a:gd name="T1" fmla="*/ 96 h 96"/>
                  <a:gd name="T2" fmla="*/ 97 w 97"/>
                  <a:gd name="T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7" h="96">
                    <a:moveTo>
                      <a:pt x="0" y="96"/>
                    </a:moveTo>
                    <a:cubicBezTo>
                      <a:pt x="53" y="96"/>
                      <a:pt x="97" y="53"/>
                      <a:pt x="97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7" name="Freeform 1032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309563" cy="304800"/>
              </a:xfrm>
              <a:custGeom>
                <a:avLst/>
                <a:gdLst>
                  <a:gd name="T0" fmla="*/ 0 w 84"/>
                  <a:gd name="T1" fmla="*/ 83 h 83"/>
                  <a:gd name="T2" fmla="*/ 84 w 84"/>
                  <a:gd name="T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83">
                    <a:moveTo>
                      <a:pt x="0" y="83"/>
                    </a:moveTo>
                    <a:cubicBezTo>
                      <a:pt x="46" y="83"/>
                      <a:pt x="84" y="46"/>
                      <a:pt x="84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8" name="Freeform 1033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261938" cy="260350"/>
              </a:xfrm>
              <a:custGeom>
                <a:avLst/>
                <a:gdLst>
                  <a:gd name="T0" fmla="*/ 0 w 71"/>
                  <a:gd name="T1" fmla="*/ 71 h 71"/>
                  <a:gd name="T2" fmla="*/ 71 w 71"/>
                  <a:gd name="T3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1" h="71">
                    <a:moveTo>
                      <a:pt x="0" y="71"/>
                    </a:moveTo>
                    <a:cubicBezTo>
                      <a:pt x="39" y="71"/>
                      <a:pt x="71" y="39"/>
                      <a:pt x="71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39" name="Freeform 1034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214313" cy="212725"/>
              </a:xfrm>
              <a:custGeom>
                <a:avLst/>
                <a:gdLst>
                  <a:gd name="T0" fmla="*/ 0 w 58"/>
                  <a:gd name="T1" fmla="*/ 58 h 58"/>
                  <a:gd name="T2" fmla="*/ 58 w 58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8" h="58">
                    <a:moveTo>
                      <a:pt x="0" y="58"/>
                    </a:moveTo>
                    <a:cubicBezTo>
                      <a:pt x="32" y="58"/>
                      <a:pt x="58" y="32"/>
                      <a:pt x="58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0" name="Freeform 1035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165100" cy="165100"/>
              </a:xfrm>
              <a:custGeom>
                <a:avLst/>
                <a:gdLst>
                  <a:gd name="T0" fmla="*/ 0 w 45"/>
                  <a:gd name="T1" fmla="*/ 45 h 45"/>
                  <a:gd name="T2" fmla="*/ 45 w 45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45">
                    <a:moveTo>
                      <a:pt x="0" y="45"/>
                    </a:moveTo>
                    <a:cubicBezTo>
                      <a:pt x="25" y="45"/>
                      <a:pt x="45" y="25"/>
                      <a:pt x="45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1" name="Freeform 1036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117475" cy="117475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18" y="32"/>
                      <a:pt x="32" y="18"/>
                      <a:pt x="32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2" name="Freeform 1037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69850" cy="69850"/>
              </a:xfrm>
              <a:custGeom>
                <a:avLst/>
                <a:gdLst>
                  <a:gd name="T0" fmla="*/ 0 w 19"/>
                  <a:gd name="T1" fmla="*/ 19 h 19"/>
                  <a:gd name="T2" fmla="*/ 19 w 1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19">
                    <a:moveTo>
                      <a:pt x="0" y="19"/>
                    </a:moveTo>
                    <a:cubicBezTo>
                      <a:pt x="11" y="19"/>
                      <a:pt x="19" y="11"/>
                      <a:pt x="19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  <p:sp>
            <p:nvSpPr>
              <p:cNvPr id="43" name="Freeform 1038"/>
              <p:cNvSpPr>
                <a:spLocks/>
              </p:cNvSpPr>
              <p:nvPr userDrawn="1"/>
            </p:nvSpPr>
            <p:spPr bwMode="auto">
              <a:xfrm>
                <a:off x="8523287" y="5233988"/>
                <a:ext cx="22225" cy="22225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cubicBezTo>
                      <a:pt x="4" y="6"/>
                      <a:pt x="6" y="3"/>
                      <a:pt x="6" y="0"/>
                    </a:cubicBezTo>
                  </a:path>
                </a:pathLst>
              </a:custGeom>
              <a:noFill/>
              <a:ln w="11113" cap="sq">
                <a:solidFill>
                  <a:srgbClr val="DCDDD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7F7F7F"/>
                  </a:solidFill>
                </a:endParaRPr>
              </a:p>
            </p:txBody>
          </p:sp>
        </p:grpSp>
        <p:sp>
          <p:nvSpPr>
            <p:cNvPr id="9" name="Rectangle 8"/>
            <p:cNvSpPr/>
            <p:nvPr userDrawn="1"/>
          </p:nvSpPr>
          <p:spPr>
            <a:xfrm>
              <a:off x="0" y="2910736"/>
              <a:ext cx="9144000" cy="5325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FFFFFF"/>
                </a:solidFill>
              </a:endParaRPr>
            </a:p>
          </p:txBody>
        </p:sp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030820" y="388611"/>
            <a:ext cx="10126133" cy="1520729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4200" b="1" i="0" baseline="0">
                <a:solidFill>
                  <a:schemeClr val="accent1"/>
                </a:solidFill>
                <a:latin typeface="Sharp Sans No2 Bold" charset="0"/>
                <a:ea typeface="Sharp Sans No2 Bold" charset="0"/>
                <a:cs typeface="Sharp Sans No2 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030820" y="2100265"/>
            <a:ext cx="10126133" cy="42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solidFill>
                  <a:schemeClr val="bg2"/>
                </a:solidFill>
                <a:latin typeface="Sharp Sans No2 Semibold" charset="0"/>
                <a:ea typeface="Sharp Sans No2 Semibold" charset="0"/>
                <a:cs typeface="Sharp Sans No2 Semibold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-273049" y="3287713"/>
            <a:ext cx="14230351" cy="4856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06619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246336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476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476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17488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64CAB8E1-379F-417C-882D-9298F11376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8403" y="573063"/>
            <a:ext cx="10019568" cy="6667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C50DA92-2BE8-46E7-8577-F712803988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08403" y="1385505"/>
            <a:ext cx="10019568" cy="3652011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2"/>
              </a:buClr>
              <a:buFontTx/>
              <a:buNone/>
              <a:defRPr sz="1350">
                <a:solidFill>
                  <a:schemeClr val="accent3"/>
                </a:solidFill>
              </a:defRPr>
            </a:lvl1pPr>
            <a:lvl2pPr marL="182166" indent="0">
              <a:spcAft>
                <a:spcPts val="900"/>
              </a:spcAft>
              <a:buFontTx/>
              <a:buNone/>
              <a:defRPr sz="1050">
                <a:solidFill>
                  <a:schemeClr val="accent3"/>
                </a:solidFill>
              </a:defRPr>
            </a:lvl2pPr>
            <a:lvl3pPr marL="375047" indent="0">
              <a:spcAft>
                <a:spcPts val="900"/>
              </a:spcAft>
              <a:buFontTx/>
              <a:buNone/>
              <a:defRPr sz="900">
                <a:solidFill>
                  <a:schemeClr val="accent3"/>
                </a:solidFill>
              </a:defRPr>
            </a:lvl3pPr>
            <a:lvl4pPr marL="519113" indent="0">
              <a:spcAft>
                <a:spcPts val="900"/>
              </a:spcAft>
              <a:buFontTx/>
              <a:buNone/>
              <a:defRPr sz="900">
                <a:solidFill>
                  <a:schemeClr val="accent3"/>
                </a:solidFill>
              </a:defRPr>
            </a:lvl4pPr>
            <a:lvl5pPr marL="690563" indent="0">
              <a:spcAft>
                <a:spcPts val="900"/>
              </a:spcAft>
              <a:buFontTx/>
              <a:buNone/>
              <a:defRPr sz="9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3684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._TFN Registr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911224" y="2634894"/>
            <a:ext cx="755607" cy="0"/>
          </a:xfrm>
          <a:prstGeom prst="line">
            <a:avLst/>
          </a:prstGeom>
          <a:ln w="38100" cmpd="sng">
            <a:solidFill>
              <a:srgbClr val="B9A3E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2740734"/>
            <a:ext cx="8190197" cy="965402"/>
          </a:xfrm>
        </p:spPr>
        <p:txBody>
          <a:bodyPr anchor="ctr">
            <a:noAutofit/>
          </a:bodyPr>
          <a:lstStyle>
            <a:lvl1pPr algn="l">
              <a:defRPr sz="4000" b="0" i="0" spc="0">
                <a:solidFill>
                  <a:schemeClr val="accent1"/>
                </a:solidFill>
                <a:latin typeface="+mj-lt"/>
                <a:cs typeface="SharpSansNo2-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3428999"/>
            <a:ext cx="5287066" cy="805688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1400" spc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9B697A0-42A6-40CC-B01A-44E3235382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5574"/>
            <a:ext cx="1050627" cy="39586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3742712-7CCA-0141-965B-CE48B5B075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57619" y="1510114"/>
            <a:ext cx="3216029" cy="570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6419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FB14C801-F4E5-4AE4-8F30-81BDD5731B8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5181" cy="6858000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0744" y="1643063"/>
            <a:ext cx="4731657" cy="4264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00" b="1">
                <a:solidFill>
                  <a:schemeClr val="tx1"/>
                </a:solidFill>
                <a:latin typeface="+mn-lt"/>
                <a:cs typeface="Times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“Click to edit Master subtitle style.”</a:t>
            </a:r>
          </a:p>
        </p:txBody>
      </p:sp>
      <p:sp>
        <p:nvSpPr>
          <p:cNvPr id="12" name="Title 3"/>
          <p:cNvSpPr>
            <a:spLocks noGrp="1"/>
          </p:cNvSpPr>
          <p:nvPr>
            <p:ph type="title"/>
          </p:nvPr>
        </p:nvSpPr>
        <p:spPr>
          <a:xfrm>
            <a:off x="6850742" y="668333"/>
            <a:ext cx="4731657" cy="974731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56901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_Full Page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599" cy="759668"/>
          </a:xfrm>
        </p:spPr>
        <p:txBody>
          <a:bodyPr/>
          <a:lstStyle>
            <a:lvl1pPr>
              <a:defRPr>
                <a:solidFill>
                  <a:srgbClr val="03407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34075"/>
                </a:solidFill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838200" y="1343278"/>
            <a:ext cx="10515599" cy="3961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  <a:lvl2pPr marL="233363" indent="-228600">
              <a:defRPr>
                <a:solidFill>
                  <a:schemeClr val="accent1"/>
                </a:solidFill>
                <a:latin typeface="+mn-lt"/>
              </a:defRPr>
            </a:lvl2pPr>
            <a:lvl3pPr marL="457200" indent="-228600">
              <a:defRPr>
                <a:solidFill>
                  <a:schemeClr val="accent1"/>
                </a:solidFill>
                <a:latin typeface="+mn-lt"/>
              </a:defRPr>
            </a:lvl3pPr>
            <a:lvl4pPr marL="690563" indent="-228600">
              <a:defRPr>
                <a:solidFill>
                  <a:schemeClr val="accent1"/>
                </a:solidFill>
                <a:latin typeface="+mn-lt"/>
              </a:defRPr>
            </a:lvl4pPr>
            <a:lvl5pPr marL="914400" indent="-228600">
              <a:defRPr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659344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60AC47-9B67-7244-B29C-3FF55E8EF6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31ABB2-23B1-2246-8F96-E147398B29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699588-8C9F-CE46-9FA5-7E8AA2A9FD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C62851-7016-AB41-9F40-02861FC1EFB1}" type="datetime1">
              <a:rPr lang="en-US" smtClean="0"/>
              <a:t>6/2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BE1AF-71AC-554B-AF9F-8B11F6CD1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&amp; Proprietary Information of Somos,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61E424-E870-5242-9899-2B369E28B2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F1973-A6B8-4C42-A15F-306A9E9F1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87617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477C8-FA5D-194C-A3C9-5618ED480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102E48-4616-FF4F-A524-A0FB9C2EDC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D46C1-937F-5944-89AF-2CDF2B6E01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32917-6861-DF48-A0CF-45976DAE8485}" type="datetime1">
              <a:rPr lang="en-US" smtClean="0"/>
              <a:t>6/2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F7DE15-4855-D349-9E12-F8B53585D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&amp; Proprietary Information of Somos,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AF28CB-B931-3E41-B9E4-4B1102949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F1973-A6B8-4C42-A15F-306A9E9F1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05677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._Agenda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356100" y="0"/>
            <a:ext cx="7835900" cy="6867575"/>
          </a:xfrm>
          <a:prstGeom prst="rect">
            <a:avLst/>
          </a:prstGeom>
          <a:gradFill>
            <a:gsLst>
              <a:gs pos="0">
                <a:srgbClr val="034075"/>
              </a:gs>
              <a:gs pos="77000">
                <a:srgbClr val="3768AD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6">
            <a:extLst>
              <a:ext uri="{FF2B5EF4-FFF2-40B4-BE49-F238E27FC236}">
                <a16:creationId xmlns:a16="http://schemas.microsoft.com/office/drawing/2014/main" id="{2CC97E33-C78D-2C48-A488-ADB8CC9774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064071"/>
            <a:ext cx="2580627" cy="1600200"/>
          </a:xfrm>
        </p:spPr>
        <p:txBody>
          <a:bodyPr/>
          <a:lstStyle>
            <a:lvl1pPr algn="ctr">
              <a:defRPr>
                <a:solidFill>
                  <a:srgbClr val="034075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658F23C-7533-B041-A44E-AC224F3AEEB7}"/>
              </a:ext>
            </a:extLst>
          </p:cNvPr>
          <p:cNvCxnSpPr>
            <a:cxnSpLocks/>
          </p:cNvCxnSpPr>
          <p:nvPr userDrawn="1"/>
        </p:nvCxnSpPr>
        <p:spPr>
          <a:xfrm>
            <a:off x="460465" y="3265959"/>
            <a:ext cx="1381213" cy="0"/>
          </a:xfrm>
          <a:prstGeom prst="line">
            <a:avLst/>
          </a:prstGeom>
          <a:ln w="38100" cmpd="sng"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5AEADFD-EDA5-224F-B014-A82A97C800D6}"/>
              </a:ext>
            </a:extLst>
          </p:cNvPr>
          <p:cNvSpPr txBox="1"/>
          <p:nvPr userDrawn="1"/>
        </p:nvSpPr>
        <p:spPr>
          <a:xfrm>
            <a:off x="9761581" y="6443821"/>
            <a:ext cx="2217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chemeClr val="bg2"/>
                </a:solidFill>
              </a:rPr>
              <a:t>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516487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30819" y="1436740"/>
            <a:ext cx="10126133" cy="4106810"/>
          </a:xfrm>
        </p:spPr>
        <p:txBody>
          <a:bodyPr/>
          <a:lstStyle>
            <a:lvl1pPr>
              <a:defRPr sz="1500">
                <a:solidFill>
                  <a:srgbClr val="3F3F3F"/>
                </a:solidFill>
              </a:defRPr>
            </a:lvl1pPr>
            <a:lvl2pPr>
              <a:spcAft>
                <a:spcPts val="900"/>
              </a:spcAft>
              <a:defRPr sz="1350">
                <a:solidFill>
                  <a:srgbClr val="3F3F3F"/>
                </a:solidFill>
              </a:defRPr>
            </a:lvl2pPr>
            <a:lvl3pPr>
              <a:spcAft>
                <a:spcPts val="900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900"/>
              </a:spcAft>
              <a:defRPr sz="900">
                <a:solidFill>
                  <a:srgbClr val="3F3F3F"/>
                </a:solidFill>
              </a:defRPr>
            </a:lvl4pPr>
            <a:lvl5pPr>
              <a:spcAft>
                <a:spcPts val="900"/>
              </a:spcAft>
              <a:defRPr sz="900">
                <a:solidFill>
                  <a:srgbClr val="3F3F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030819" y="668333"/>
            <a:ext cx="10126133" cy="4693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40515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30820" y="1303345"/>
            <a:ext cx="10126133" cy="29867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his is a subhea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30820" y="1751067"/>
            <a:ext cx="10126133" cy="3792485"/>
          </a:xfrm>
        </p:spPr>
        <p:txBody>
          <a:bodyPr/>
          <a:lstStyle>
            <a:lvl1pPr>
              <a:defRPr sz="1500">
                <a:solidFill>
                  <a:srgbClr val="3F3F3F"/>
                </a:solidFill>
              </a:defRPr>
            </a:lvl1pPr>
            <a:lvl2pPr>
              <a:spcAft>
                <a:spcPts val="900"/>
              </a:spcAft>
              <a:defRPr sz="1350">
                <a:solidFill>
                  <a:srgbClr val="3F3F3F"/>
                </a:solidFill>
              </a:defRPr>
            </a:lvl2pPr>
            <a:lvl3pPr>
              <a:spcAft>
                <a:spcPts val="900"/>
              </a:spcAft>
              <a:defRPr sz="1200">
                <a:solidFill>
                  <a:srgbClr val="3F3F3F"/>
                </a:solidFill>
              </a:defRPr>
            </a:lvl3pPr>
            <a:lvl4pPr>
              <a:spcAft>
                <a:spcPts val="900"/>
              </a:spcAft>
              <a:defRPr sz="900">
                <a:solidFill>
                  <a:srgbClr val="3F3F3F"/>
                </a:solidFill>
              </a:defRPr>
            </a:lvl4pPr>
            <a:lvl5pPr>
              <a:spcAft>
                <a:spcPts val="900"/>
              </a:spcAft>
              <a:defRPr sz="900">
                <a:solidFill>
                  <a:srgbClr val="3F3F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030819" y="668333"/>
            <a:ext cx="10126133" cy="4693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089679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1DFBDB8-D4EA-482C-855B-F72F34C51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1DFBDB8-D4EA-482C-855B-F72F34C5134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017379" y="1300164"/>
            <a:ext cx="10139572" cy="4271963"/>
          </a:xfrm>
        </p:spPr>
        <p:txBody>
          <a:bodyPr/>
          <a:lstStyle>
            <a:lvl1pPr marL="0" indent="0">
              <a:buNone/>
              <a:defRPr sz="1500" b="0" i="1" baseline="0">
                <a:solidFill>
                  <a:srgbClr val="3F3F3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372865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72F3A9-D73B-459E-9C44-513167EADE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72F3A9-D73B-459E-9C44-513167EADE3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679355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4973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image" Target="../media/image42.png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image" Target="../media/image41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9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97.xml"/><Relationship Id="rId21" Type="http://schemas.openxmlformats.org/officeDocument/2006/relationships/oleObject" Target="../embeddings/oleObject5.bin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4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image" Target="NUL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image" Target="../media/image34.png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22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51"/>
          <a:srcRect/>
          <a:stretch/>
        </p:blipFill>
        <p:spPr>
          <a:xfrm>
            <a:off x="621627" y="6124615"/>
            <a:ext cx="1050628" cy="39778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68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4658"/>
            <a:ext cx="10515599" cy="37346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02375" y="632286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i="0">
                <a:solidFill>
                  <a:schemeClr val="tx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15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2" r:id="rId2"/>
    <p:sldLayoutId id="2147483705" r:id="rId3"/>
    <p:sldLayoutId id="2147483661" r:id="rId4"/>
    <p:sldLayoutId id="2147483710" r:id="rId5"/>
    <p:sldLayoutId id="2147483881" r:id="rId6"/>
    <p:sldLayoutId id="2147483882" r:id="rId7"/>
    <p:sldLayoutId id="2147483884" r:id="rId8"/>
    <p:sldLayoutId id="2147483885" r:id="rId9"/>
    <p:sldLayoutId id="2147483886" r:id="rId10"/>
    <p:sldLayoutId id="2147483887" r:id="rId11"/>
    <p:sldLayoutId id="2147483889" r:id="rId12"/>
    <p:sldLayoutId id="2147483890" r:id="rId13"/>
    <p:sldLayoutId id="2147483891" r:id="rId14"/>
    <p:sldLayoutId id="2147483892" r:id="rId15"/>
    <p:sldLayoutId id="2147483894" r:id="rId16"/>
    <p:sldLayoutId id="2147483895" r:id="rId17"/>
    <p:sldLayoutId id="2147483871" r:id="rId18"/>
    <p:sldLayoutId id="2147483872" r:id="rId19"/>
    <p:sldLayoutId id="2147483874" r:id="rId20"/>
    <p:sldLayoutId id="2147483875" r:id="rId21"/>
    <p:sldLayoutId id="2147483876" r:id="rId22"/>
    <p:sldLayoutId id="2147483877" r:id="rId23"/>
    <p:sldLayoutId id="2147483879" r:id="rId24"/>
    <p:sldLayoutId id="2147483880" r:id="rId25"/>
    <p:sldLayoutId id="2147483951" r:id="rId26"/>
    <p:sldLayoutId id="2147483952" r:id="rId27"/>
    <p:sldLayoutId id="2147483953" r:id="rId28"/>
    <p:sldLayoutId id="2147483954" r:id="rId29"/>
    <p:sldLayoutId id="2147483955" r:id="rId30"/>
    <p:sldLayoutId id="2147483956" r:id="rId31"/>
    <p:sldLayoutId id="2147483957" r:id="rId32"/>
    <p:sldLayoutId id="2147483958" r:id="rId33"/>
    <p:sldLayoutId id="2147483896" r:id="rId34"/>
    <p:sldLayoutId id="2147483897" r:id="rId35"/>
    <p:sldLayoutId id="2147483898" r:id="rId36"/>
    <p:sldLayoutId id="2147483899" r:id="rId37"/>
    <p:sldLayoutId id="2147483866" r:id="rId38"/>
    <p:sldLayoutId id="2147483867" r:id="rId39"/>
    <p:sldLayoutId id="2147483869" r:id="rId40"/>
    <p:sldLayoutId id="2147483870" r:id="rId41"/>
    <p:sldLayoutId id="2147483715" r:id="rId42"/>
    <p:sldLayoutId id="2147483664" r:id="rId43"/>
    <p:sldLayoutId id="2147483704" r:id="rId44"/>
    <p:sldLayoutId id="2147483689" r:id="rId45"/>
    <p:sldLayoutId id="2147483719" r:id="rId46"/>
    <p:sldLayoutId id="2147484138" r:id="rId47"/>
    <p:sldLayoutId id="2147484139" r:id="rId48"/>
    <p:sldLayoutId id="2147484164" r:id="rId4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3F4975"/>
          </a:solidFill>
          <a:latin typeface="+mj-lt"/>
          <a:ea typeface="Sharp Sans No2 Bold" charset="0"/>
          <a:cs typeface="SharpSansNo2-Semibold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000"/>
        </a:spcBef>
        <a:buClr>
          <a:srgbClr val="B9A3E4"/>
        </a:buClr>
        <a:buFont typeface="Arial"/>
        <a:buNone/>
        <a:defRPr sz="2000" b="1" i="0" kern="1200">
          <a:solidFill>
            <a:schemeClr val="tx1"/>
          </a:solidFill>
          <a:latin typeface="+mn-lt"/>
          <a:ea typeface="Sharp Sans No2 Semibold" charset="0"/>
          <a:cs typeface="Sharp Sans No2 Semibold" charset="0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rgbClr val="B9A3E4"/>
        </a:buClr>
        <a:buFont typeface="Arial"/>
        <a:buChar char="•"/>
        <a:defRPr sz="1800" b="1" i="0" kern="1200">
          <a:solidFill>
            <a:schemeClr val="tx1"/>
          </a:solidFill>
          <a:latin typeface="+mn-lt"/>
          <a:ea typeface="Sharp Sans No2 Semibold" charset="0"/>
          <a:cs typeface="Sharp Sans No2 Semibold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/>
          <a:stretch/>
        </p:blipFill>
        <p:spPr>
          <a:xfrm>
            <a:off x="621627" y="6124615"/>
            <a:ext cx="1050628" cy="39778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68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02375" y="632286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i="0">
                <a:solidFill>
                  <a:schemeClr val="tx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915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65" r:id="rId2"/>
    <p:sldLayoutId id="2147483959" r:id="rId3"/>
    <p:sldLayoutId id="2147483940" r:id="rId4"/>
    <p:sldLayoutId id="2147483963" r:id="rId5"/>
    <p:sldLayoutId id="2147483941" r:id="rId6"/>
    <p:sldLayoutId id="2147483942" r:id="rId7"/>
    <p:sldLayoutId id="2147483960" r:id="rId8"/>
    <p:sldLayoutId id="2147483943" r:id="rId9"/>
    <p:sldLayoutId id="2147483964" r:id="rId10"/>
    <p:sldLayoutId id="2147483961" r:id="rId11"/>
    <p:sldLayoutId id="2147483944" r:id="rId12"/>
    <p:sldLayoutId id="2147483962" r:id="rId13"/>
    <p:sldLayoutId id="2147483937" r:id="rId14"/>
    <p:sldLayoutId id="2147483938" r:id="rId15"/>
    <p:sldLayoutId id="2147483945" r:id="rId16"/>
    <p:sldLayoutId id="2147483946" r:id="rId17"/>
    <p:sldLayoutId id="2147483966" r:id="rId18"/>
    <p:sldLayoutId id="2147483949" r:id="rId19"/>
    <p:sldLayoutId id="2147483969" r:id="rId20"/>
    <p:sldLayoutId id="2147483968" r:id="rId21"/>
    <p:sldLayoutId id="2147483950" r:id="rId22"/>
    <p:sldLayoutId id="214748396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accent1"/>
          </a:solidFill>
          <a:latin typeface="+mj-lt"/>
          <a:ea typeface="Sharp Sans No2 Bold" charset="0"/>
          <a:cs typeface="SharpSansNo2-Semibold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000"/>
        </a:spcBef>
        <a:buClr>
          <a:srgbClr val="B9A3E4"/>
        </a:buClr>
        <a:buFont typeface="Arial"/>
        <a:buNone/>
        <a:defRPr sz="2000" b="1" i="0" kern="1200">
          <a:solidFill>
            <a:schemeClr val="tx1"/>
          </a:solidFill>
          <a:latin typeface="+mn-lt"/>
          <a:ea typeface="Sharp Sans No2 Semibold" charset="0"/>
          <a:cs typeface="Sharp Sans No2 Semibold" charset="0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rgbClr val="B9A3E4"/>
        </a:buClr>
        <a:buFont typeface="Arial"/>
        <a:buChar char="•"/>
        <a:defRPr sz="1800" b="1" i="0" kern="1200">
          <a:solidFill>
            <a:schemeClr val="tx1"/>
          </a:solidFill>
          <a:latin typeface="+mn-lt"/>
          <a:ea typeface="Sharp Sans No2 Semibold" charset="0"/>
          <a:cs typeface="Sharp Sans No2 Semibold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6350000" imgH="6350000" progId="">
                  <p:embed/>
                </p:oleObj>
              </mc:Choice>
              <mc:Fallback>
                <p:oleObj name="think-cell Slide" r:id="rId21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0819" y="668333"/>
            <a:ext cx="10126133" cy="46937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This is a sample content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2702" y="1436379"/>
            <a:ext cx="10126135" cy="4101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316060" y="6188278"/>
            <a:ext cx="453081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fld id="{DDCA33D1-252A-4658-B1F4-82058961A0C0}" type="slidenum">
              <a:rPr lang="en-US" sz="1600" b="1" smtClean="0">
                <a:solidFill>
                  <a:srgbClr val="3F4975"/>
                </a:solidFill>
                <a:latin typeface="Sharp Sans No2 Bold" charset="0"/>
                <a:ea typeface="Sharp Sans No2 Bold" charset="0"/>
                <a:cs typeface="Sharp Sans No2 Bold" charset="0"/>
              </a:rPr>
              <a:pPr algn="ctr"/>
              <a:t>‹#›</a:t>
            </a:fld>
            <a:endParaRPr lang="en-US" sz="1600" b="1">
              <a:solidFill>
                <a:srgbClr val="3F4975"/>
              </a:solidFill>
              <a:latin typeface="Sharp Sans No2 Bold" charset="0"/>
              <a:ea typeface="Sharp Sans No2 Bold" charset="0"/>
              <a:cs typeface="Sharp Sans No2 Bold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545" y="5970078"/>
            <a:ext cx="1182547" cy="471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547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  <p:sldLayoutId id="2147483982" r:id="rId12"/>
    <p:sldLayoutId id="2147483983" r:id="rId13"/>
    <p:sldLayoutId id="2147483984" r:id="rId14"/>
    <p:sldLayoutId id="2147483985" r:id="rId15"/>
    <p:sldLayoutId id="2147483986" r:id="rId16"/>
    <p:sldLayoutId id="2147483988" r:id="rId17"/>
    <p:sldLayoutId id="2147483989" r:id="rId18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2700" b="1" i="0" kern="1200" baseline="0">
          <a:solidFill>
            <a:srgbClr val="3F4A75"/>
          </a:solidFill>
          <a:latin typeface="Sharp Sans No2 Bold" charset="0"/>
          <a:ea typeface="Sharp Sans No2 Bold" charset="0"/>
          <a:cs typeface="Sharp Sans No2 Bold" charset="0"/>
        </a:defRPr>
      </a:lvl1pPr>
    </p:titleStyle>
    <p:bodyStyle>
      <a:lvl1pPr marL="173831" indent="-173831" algn="l" defTabSz="685800" rtl="0" eaLnBrk="1" latinLnBrk="0" hangingPunct="1">
        <a:spcBef>
          <a:spcPts val="900"/>
        </a:spcBef>
        <a:spcAft>
          <a:spcPts val="450"/>
        </a:spcAft>
        <a:buClr>
          <a:schemeClr val="bg2"/>
        </a:buClr>
        <a:buFont typeface="Arial" panose="020B0604020202020204" pitchFamily="34" charset="0"/>
        <a:buChar char="•"/>
        <a:defRPr sz="1500" b="1" i="0" kern="1200">
          <a:solidFill>
            <a:srgbClr val="3F3F3F"/>
          </a:solidFill>
          <a:latin typeface="Sharp Sans No2 Semibold" charset="0"/>
          <a:ea typeface="Sharp Sans No2 Semibold" charset="0"/>
          <a:cs typeface="Sharp Sans No2 Semibold" charset="0"/>
        </a:defRPr>
      </a:lvl1pPr>
      <a:lvl2pPr marL="353616" indent="-171450" algn="l" defTabSz="685800" rtl="0" eaLnBrk="1" latinLnBrk="0" hangingPunct="1">
        <a:spcBef>
          <a:spcPts val="0"/>
        </a:spcBef>
        <a:spcAft>
          <a:spcPts val="450"/>
        </a:spcAft>
        <a:buFont typeface="Arial" panose="020B0604020202020204" pitchFamily="34" charset="0"/>
        <a:buChar char="–"/>
        <a:tabLst/>
        <a:defRPr sz="1350" b="1" i="0" kern="1200">
          <a:solidFill>
            <a:srgbClr val="3F3F3F"/>
          </a:solidFill>
          <a:latin typeface="Sharp Sans No2 Semibold" charset="0"/>
          <a:ea typeface="Sharp Sans No2 Semibold" charset="0"/>
          <a:cs typeface="Sharp Sans No2 Semibold" charset="0"/>
        </a:defRPr>
      </a:lvl2pPr>
      <a:lvl3pPr marL="508397" indent="-133350" algn="l" defTabSz="685800" rtl="0" eaLnBrk="1" latinLnBrk="0" hangingPunct="1"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tabLst/>
        <a:defRPr sz="1200" b="1" i="0" kern="1200">
          <a:solidFill>
            <a:srgbClr val="3F3F3F"/>
          </a:solidFill>
          <a:latin typeface="Sharp Sans No2 Semibold" charset="0"/>
          <a:ea typeface="Sharp Sans No2 Semibold" charset="0"/>
          <a:cs typeface="Sharp Sans No2 Semibold" charset="0"/>
        </a:defRPr>
      </a:lvl3pPr>
      <a:lvl4pPr marL="690563" indent="-171450" algn="l" defTabSz="685800" rtl="0" eaLnBrk="1" latinLnBrk="0" hangingPunct="1">
        <a:spcBef>
          <a:spcPts val="0"/>
        </a:spcBef>
        <a:spcAft>
          <a:spcPts val="450"/>
        </a:spcAft>
        <a:buFont typeface="Arial" panose="020B0604020202020204" pitchFamily="34" charset="0"/>
        <a:buChar char="–"/>
        <a:defRPr sz="900" b="1" i="0" kern="1200">
          <a:solidFill>
            <a:srgbClr val="3F3F3F"/>
          </a:solidFill>
          <a:latin typeface="Sharp Sans No2 Semibold" charset="0"/>
          <a:ea typeface="Sharp Sans No2 Semibold" charset="0"/>
          <a:cs typeface="Sharp Sans No2 Semibold" charset="0"/>
        </a:defRPr>
      </a:lvl4pPr>
      <a:lvl5pPr marL="816769" indent="-126206" algn="l" defTabSz="685800" rtl="0" eaLnBrk="1" latinLnBrk="0" hangingPunct="1"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900" b="1" i="0" kern="1200">
          <a:solidFill>
            <a:srgbClr val="3F3F3F"/>
          </a:solidFill>
          <a:latin typeface="Sharp Sans No2 Semibold" charset="0"/>
          <a:ea typeface="Sharp Sans No2 Semibold" charset="0"/>
          <a:cs typeface="Sharp Sans No2 Semibold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68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02375" y="632286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i="0">
                <a:solidFill>
                  <a:srgbClr val="034075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566ADD-31AB-BC48-A50D-59ECDB4817D4}"/>
              </a:ext>
            </a:extLst>
          </p:cNvPr>
          <p:cNvSpPr txBox="1"/>
          <p:nvPr userDrawn="1"/>
        </p:nvSpPr>
        <p:spPr>
          <a:xfrm>
            <a:off x="411841" y="6322861"/>
            <a:ext cx="2217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rgbClr val="3768AD"/>
                </a:solidFill>
              </a:rPr>
              <a:t>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3338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034075"/>
          </a:solidFill>
          <a:latin typeface="+mj-lt"/>
          <a:ea typeface="Sharp Sans No2 Bold" charset="0"/>
          <a:cs typeface="SharpSansNo2-Semibold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000"/>
        </a:spcBef>
        <a:buClr>
          <a:srgbClr val="B9A3E4"/>
        </a:buClr>
        <a:buFont typeface="Arial"/>
        <a:buNone/>
        <a:defRPr sz="2000" b="1" i="0" kern="1200">
          <a:solidFill>
            <a:schemeClr val="tx1"/>
          </a:solidFill>
          <a:latin typeface="+mn-lt"/>
          <a:ea typeface="Sharp Sans No2 Semibold" charset="0"/>
          <a:cs typeface="Sharp Sans No2 Semibold" charset="0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rgbClr val="B9A3E4"/>
        </a:buClr>
        <a:buFont typeface="Arial"/>
        <a:buChar char="•"/>
        <a:defRPr sz="1800" b="1" i="0" kern="1200">
          <a:solidFill>
            <a:schemeClr val="tx1"/>
          </a:solidFill>
          <a:latin typeface="+mn-lt"/>
          <a:ea typeface="Sharp Sans No2 Semibold" charset="0"/>
          <a:cs typeface="Sharp Sans No2 Semibold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6350000" imgH="6350000" progId="">
                  <p:embed/>
                </p:oleObj>
              </mc:Choice>
              <mc:Fallback>
                <p:oleObj name="think-cell Slide" r:id="rId21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0819" y="668333"/>
            <a:ext cx="10126133" cy="46937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This is a sample content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2702" y="1436379"/>
            <a:ext cx="10126135" cy="4101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316060" y="6188278"/>
            <a:ext cx="453081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fld id="{DDCA33D1-252A-4658-B1F4-82058961A0C0}" type="slidenum">
              <a:rPr lang="en-US" sz="1600" b="1" smtClean="0">
                <a:solidFill>
                  <a:srgbClr val="3F4975"/>
                </a:solidFill>
                <a:latin typeface="Sharp Sans No2 Bold" charset="0"/>
                <a:ea typeface="Sharp Sans No2 Bold" charset="0"/>
                <a:cs typeface="Sharp Sans No2 Bold" charset="0"/>
              </a:rPr>
              <a:pPr algn="ctr"/>
              <a:t>‹#›</a:t>
            </a:fld>
            <a:endParaRPr lang="en-US" sz="1600" b="1">
              <a:solidFill>
                <a:srgbClr val="3F4975"/>
              </a:solidFill>
              <a:latin typeface="Sharp Sans No2 Bold" charset="0"/>
              <a:ea typeface="Sharp Sans No2 Bold" charset="0"/>
              <a:cs typeface="Sharp Sans No2 Bold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545" y="5981351"/>
            <a:ext cx="1182547" cy="44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939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  <p:sldLayoutId id="2147484010" r:id="rId14"/>
    <p:sldLayoutId id="2147484011" r:id="rId15"/>
    <p:sldLayoutId id="2147484012" r:id="rId16"/>
    <p:sldLayoutId id="2147484014" r:id="rId17"/>
    <p:sldLayoutId id="2147484015" r:id="rId18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2700" b="1" i="0" kern="1200" baseline="0">
          <a:solidFill>
            <a:srgbClr val="3F4A75"/>
          </a:solidFill>
          <a:latin typeface="Sharp Sans No2 Bold" charset="0"/>
          <a:ea typeface="Sharp Sans No2 Bold" charset="0"/>
          <a:cs typeface="Sharp Sans No2 Bold" charset="0"/>
        </a:defRPr>
      </a:lvl1pPr>
    </p:titleStyle>
    <p:bodyStyle>
      <a:lvl1pPr marL="173831" indent="-173831" algn="l" defTabSz="685800" rtl="0" eaLnBrk="1" latinLnBrk="0" hangingPunct="1">
        <a:spcBef>
          <a:spcPts val="900"/>
        </a:spcBef>
        <a:spcAft>
          <a:spcPts val="450"/>
        </a:spcAft>
        <a:buClr>
          <a:schemeClr val="bg2"/>
        </a:buClr>
        <a:buFont typeface="Arial" panose="020B0604020202020204" pitchFamily="34" charset="0"/>
        <a:buChar char="•"/>
        <a:defRPr sz="1500" b="1" i="0" kern="1200">
          <a:solidFill>
            <a:srgbClr val="3F3F3F"/>
          </a:solidFill>
          <a:latin typeface="Sharp Sans No2 Semibold" charset="0"/>
          <a:ea typeface="Sharp Sans No2 Semibold" charset="0"/>
          <a:cs typeface="Sharp Sans No2 Semibold" charset="0"/>
        </a:defRPr>
      </a:lvl1pPr>
      <a:lvl2pPr marL="353616" indent="-171450" algn="l" defTabSz="685800" rtl="0" eaLnBrk="1" latinLnBrk="0" hangingPunct="1">
        <a:spcBef>
          <a:spcPts val="0"/>
        </a:spcBef>
        <a:spcAft>
          <a:spcPts val="450"/>
        </a:spcAft>
        <a:buFont typeface="Arial" panose="020B0604020202020204" pitchFamily="34" charset="0"/>
        <a:buChar char="–"/>
        <a:tabLst/>
        <a:defRPr sz="1350" b="1" i="0" kern="1200">
          <a:solidFill>
            <a:srgbClr val="3F3F3F"/>
          </a:solidFill>
          <a:latin typeface="Sharp Sans No2 Semibold" charset="0"/>
          <a:ea typeface="Sharp Sans No2 Semibold" charset="0"/>
          <a:cs typeface="Sharp Sans No2 Semibold" charset="0"/>
        </a:defRPr>
      </a:lvl2pPr>
      <a:lvl3pPr marL="508397" indent="-133350" algn="l" defTabSz="685800" rtl="0" eaLnBrk="1" latinLnBrk="0" hangingPunct="1"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tabLst/>
        <a:defRPr sz="1200" b="1" i="0" kern="1200">
          <a:solidFill>
            <a:srgbClr val="3F3F3F"/>
          </a:solidFill>
          <a:latin typeface="Sharp Sans No2 Semibold" charset="0"/>
          <a:ea typeface="Sharp Sans No2 Semibold" charset="0"/>
          <a:cs typeface="Sharp Sans No2 Semibold" charset="0"/>
        </a:defRPr>
      </a:lvl3pPr>
      <a:lvl4pPr marL="690563" indent="-171450" algn="l" defTabSz="685800" rtl="0" eaLnBrk="1" latinLnBrk="0" hangingPunct="1">
        <a:spcBef>
          <a:spcPts val="0"/>
        </a:spcBef>
        <a:spcAft>
          <a:spcPts val="450"/>
        </a:spcAft>
        <a:buFont typeface="Arial" panose="020B0604020202020204" pitchFamily="34" charset="0"/>
        <a:buChar char="–"/>
        <a:defRPr sz="900" b="1" i="0" kern="1200">
          <a:solidFill>
            <a:srgbClr val="3F3F3F"/>
          </a:solidFill>
          <a:latin typeface="Sharp Sans No2 Semibold" charset="0"/>
          <a:ea typeface="Sharp Sans No2 Semibold" charset="0"/>
          <a:cs typeface="Sharp Sans No2 Semibold" charset="0"/>
        </a:defRPr>
      </a:lvl4pPr>
      <a:lvl5pPr marL="816769" indent="-126206" algn="l" defTabSz="685800" rtl="0" eaLnBrk="1" latinLnBrk="0" hangingPunct="1"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900" b="1" i="0" kern="1200">
          <a:solidFill>
            <a:srgbClr val="3F3F3F"/>
          </a:solidFill>
          <a:latin typeface="Sharp Sans No2 Semibold" charset="0"/>
          <a:ea typeface="Sharp Sans No2 Semibold" charset="0"/>
          <a:cs typeface="Sharp Sans No2 Semibold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7817D2E-A51D-3847-9F6E-3B6D855797BA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27" y="6124192"/>
            <a:ext cx="1050628" cy="39862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68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02375" y="632286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i="0">
                <a:solidFill>
                  <a:schemeClr val="tx2"/>
                </a:solidFill>
                <a:latin typeface="+mn-lt"/>
                <a:ea typeface="Sharp Sans No2 Semibold" charset="0"/>
                <a:cs typeface="Sharp Sans No2 Semibold" charset="0"/>
              </a:defRPr>
            </a:lvl1pPr>
          </a:lstStyle>
          <a:p>
            <a:fld id="{E429DF5D-226D-BC4F-AD0E-80139D2107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083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46" r:id="rId3"/>
    <p:sldLayoutId id="2147484147" r:id="rId4"/>
    <p:sldLayoutId id="2147484148" r:id="rId5"/>
    <p:sldLayoutId id="2147484149" r:id="rId6"/>
    <p:sldLayoutId id="2147484150" r:id="rId7"/>
    <p:sldLayoutId id="2147484151" r:id="rId8"/>
    <p:sldLayoutId id="2147484152" r:id="rId9"/>
    <p:sldLayoutId id="2147484153" r:id="rId10"/>
    <p:sldLayoutId id="2147484154" r:id="rId11"/>
    <p:sldLayoutId id="2147484155" r:id="rId12"/>
    <p:sldLayoutId id="2147484156" r:id="rId13"/>
    <p:sldLayoutId id="2147484157" r:id="rId14"/>
    <p:sldLayoutId id="2147484158" r:id="rId15"/>
    <p:sldLayoutId id="2147484161" r:id="rId16"/>
    <p:sldLayoutId id="2147484162" r:id="rId17"/>
    <p:sldLayoutId id="2147484163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3F4975"/>
          </a:solidFill>
          <a:latin typeface="+mj-lt"/>
          <a:ea typeface="Sharp Sans No2 Bold" charset="0"/>
          <a:cs typeface="SharpSansNo2-Semibold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000"/>
        </a:spcBef>
        <a:buClr>
          <a:srgbClr val="B9A3E4"/>
        </a:buClr>
        <a:buFont typeface="Arial"/>
        <a:buNone/>
        <a:defRPr sz="2000" b="1" i="0" kern="1200">
          <a:solidFill>
            <a:schemeClr val="tx1"/>
          </a:solidFill>
          <a:latin typeface="+mn-lt"/>
          <a:ea typeface="Sharp Sans No2 Semibold" charset="0"/>
          <a:cs typeface="Sharp Sans No2 Semibold" charset="0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rgbClr val="B9A3E4"/>
        </a:buClr>
        <a:buFont typeface="Arial"/>
        <a:buChar char="•"/>
        <a:defRPr sz="1800" b="1" i="0" kern="1200">
          <a:solidFill>
            <a:schemeClr val="tx1"/>
          </a:solidFill>
          <a:latin typeface="+mn-lt"/>
          <a:ea typeface="Sharp Sans No2 Semibold" charset="0"/>
          <a:cs typeface="Sharp Sans No2 Semibold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9A3E4"/>
        </a:buClr>
        <a:buFont typeface="Arial"/>
        <a:buChar char="•"/>
        <a:defRPr sz="1400" b="0" i="0" kern="1200">
          <a:solidFill>
            <a:schemeClr val="tx1"/>
          </a:solidFill>
          <a:latin typeface="SharpSansNo2-Medium"/>
          <a:ea typeface="Sharp Sans No2 Semibold" charset="0"/>
          <a:cs typeface="SharpSansNo2-Medium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omos.com/" TargetMode="External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6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image" Target="../media/image49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7.xml"/><Relationship Id="rId6" Type="http://schemas.openxmlformats.org/officeDocument/2006/relationships/chart" Target="../charts/chart3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53.svg"/><Relationship Id="rId5" Type="http://schemas.openxmlformats.org/officeDocument/2006/relationships/image" Target="../media/image52.png"/><Relationship Id="rId10" Type="http://schemas.openxmlformats.org/officeDocument/2006/relationships/image" Target="../media/image57.svg"/><Relationship Id="rId4" Type="http://schemas.openxmlformats.org/officeDocument/2006/relationships/image" Target="../media/image51.svg"/><Relationship Id="rId9" Type="http://schemas.openxmlformats.org/officeDocument/2006/relationships/image" Target="../media/image5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6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8A1A0DFA-93E6-4954-8D2A-453A3CE49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558" y="2806963"/>
            <a:ext cx="11094767" cy="965402"/>
          </a:xfrm>
        </p:spPr>
        <p:txBody>
          <a:bodyPr/>
          <a:lstStyle/>
          <a:p>
            <a:br>
              <a:rPr lang="en-US">
                <a:solidFill>
                  <a:srgbClr val="FFFFFF"/>
                </a:solidFill>
              </a:rPr>
            </a:br>
            <a:r>
              <a:rPr lang="en-US">
                <a:solidFill>
                  <a:srgbClr val="FFFFFF"/>
                </a:solidFill>
              </a:rPr>
              <a:t>Techniques for Mitigating Fraud (USA):  DNO and Traceback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6339867-0082-429C-82F5-20DE2C14C0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8618" y="4556755"/>
            <a:ext cx="6102350" cy="805688"/>
          </a:xfrm>
        </p:spPr>
        <p:txBody>
          <a:bodyPr/>
          <a:lstStyle/>
          <a:p>
            <a:r>
              <a:rPr lang="en-US"/>
              <a:t>ECC Workshop on Combating Fraudulent Communications </a:t>
            </a:r>
          </a:p>
          <a:p>
            <a:r>
              <a:rPr lang="en-US" dirty="0"/>
              <a:t>July 202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E9B6FA-5833-470E-9488-7956CEFDD1C6}"/>
              </a:ext>
            </a:extLst>
          </p:cNvPr>
          <p:cNvSpPr txBox="1"/>
          <p:nvPr/>
        </p:nvSpPr>
        <p:spPr>
          <a:xfrm>
            <a:off x="7756948" y="6146834"/>
            <a:ext cx="4674325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 err="1">
                <a:solidFill>
                  <a:schemeClr val="bg1"/>
                </a:solidFill>
              </a:rPr>
              <a:t>Somos</a:t>
            </a:r>
            <a:r>
              <a:rPr lang="en-US" sz="800" dirty="0">
                <a:solidFill>
                  <a:schemeClr val="bg1"/>
                </a:solidFill>
              </a:rPr>
              <a:t>, </a:t>
            </a:r>
            <a:r>
              <a:rPr lang="en-US" sz="800" dirty="0" err="1">
                <a:solidFill>
                  <a:schemeClr val="bg1"/>
                </a:solidFill>
              </a:rPr>
              <a:t>Somos</a:t>
            </a:r>
            <a:r>
              <a:rPr lang="en-US" sz="800" dirty="0">
                <a:solidFill>
                  <a:schemeClr val="bg1"/>
                </a:solidFill>
              </a:rPr>
              <a:t> and Design, 4 Quarters Design, </a:t>
            </a:r>
            <a:r>
              <a:rPr lang="en-US" sz="800" dirty="0" err="1">
                <a:solidFill>
                  <a:schemeClr val="bg1"/>
                </a:solidFill>
              </a:rPr>
              <a:t>RouteLink</a:t>
            </a:r>
            <a:r>
              <a:rPr lang="en-US" sz="800" dirty="0">
                <a:solidFill>
                  <a:schemeClr val="bg1"/>
                </a:solidFill>
              </a:rPr>
              <a:t>, , SMS/800 </a:t>
            </a:r>
            <a:r>
              <a:rPr lang="en-US" sz="800" dirty="0" err="1">
                <a:solidFill>
                  <a:schemeClr val="bg1"/>
                </a:solidFill>
              </a:rPr>
              <a:t>TFNRegistry</a:t>
            </a:r>
            <a:r>
              <a:rPr lang="en-US" sz="800" dirty="0">
                <a:solidFill>
                  <a:schemeClr val="bg1"/>
                </a:solidFill>
              </a:rPr>
              <a:t> Design, </a:t>
            </a:r>
            <a:r>
              <a:rPr lang="en-US" sz="800" dirty="0" err="1">
                <a:solidFill>
                  <a:schemeClr val="bg1"/>
                </a:solidFill>
              </a:rPr>
              <a:t>TSSRegistry</a:t>
            </a:r>
            <a:r>
              <a:rPr lang="en-US" sz="800" dirty="0">
                <a:solidFill>
                  <a:schemeClr val="bg1"/>
                </a:solidFill>
              </a:rPr>
              <a:t> Design, </a:t>
            </a:r>
            <a:r>
              <a:rPr lang="en-US" sz="800" dirty="0" err="1">
                <a:solidFill>
                  <a:schemeClr val="bg1"/>
                </a:solidFill>
              </a:rPr>
              <a:t>TFNIdentity</a:t>
            </a:r>
            <a:r>
              <a:rPr lang="en-US" sz="800" dirty="0">
                <a:solidFill>
                  <a:schemeClr val="bg1"/>
                </a:solidFill>
              </a:rPr>
              <a:t> Design, </a:t>
            </a:r>
            <a:r>
              <a:rPr lang="en-US" sz="800" dirty="0" err="1">
                <a:solidFill>
                  <a:schemeClr val="bg1"/>
                </a:solidFill>
              </a:rPr>
              <a:t>SomosID</a:t>
            </a:r>
            <a:r>
              <a:rPr lang="en-US" sz="800" dirty="0">
                <a:solidFill>
                  <a:schemeClr val="bg1"/>
                </a:solidFill>
              </a:rPr>
              <a:t> Design and </a:t>
            </a:r>
            <a:r>
              <a:rPr lang="en-US" sz="800" dirty="0" err="1">
                <a:solidFill>
                  <a:schemeClr val="bg1"/>
                </a:solidFill>
              </a:rPr>
              <a:t>RealNumber</a:t>
            </a:r>
            <a:r>
              <a:rPr lang="en-US" sz="800" dirty="0">
                <a:solidFill>
                  <a:schemeClr val="bg1"/>
                </a:solidFill>
              </a:rPr>
              <a:t> Design are trademarks of  </a:t>
            </a:r>
            <a:r>
              <a:rPr lang="en-US" sz="800" dirty="0" err="1">
                <a:solidFill>
                  <a:schemeClr val="bg1"/>
                </a:solidFill>
              </a:rPr>
              <a:t>Somos</a:t>
            </a:r>
            <a:r>
              <a:rPr lang="en-US" sz="800" dirty="0">
                <a:solidFill>
                  <a:schemeClr val="bg1"/>
                </a:solidFill>
              </a:rPr>
              <a:t>.</a:t>
            </a:r>
            <a:endParaRPr lang="en-US" sz="800" b="0" dirty="0">
              <a:solidFill>
                <a:schemeClr val="bg1"/>
              </a:solidFill>
            </a:endParaRPr>
          </a:p>
          <a:p>
            <a:pPr lvl="0"/>
            <a:r>
              <a:rPr lang="en-US" sz="800" dirty="0">
                <a:solidFill>
                  <a:schemeClr val="bg1"/>
                </a:solidFill>
              </a:rPr>
              <a:t>Copyright 2024 </a:t>
            </a:r>
            <a:r>
              <a:rPr lang="en-US" sz="800" dirty="0" err="1">
                <a:solidFill>
                  <a:schemeClr val="bg1"/>
                </a:solidFill>
              </a:rPr>
              <a:t>Somos</a:t>
            </a:r>
            <a:r>
              <a:rPr lang="en-US" sz="800" dirty="0">
                <a:solidFill>
                  <a:schemeClr val="bg1"/>
                </a:solidFill>
              </a:rPr>
              <a:t>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07062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5518852-1576-0253-3E89-14ED6167C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B95AE1-8D0E-B0CC-1011-B0091FDBD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2EF9F1B-D272-67D8-8BD3-1D655F67D720}"/>
              </a:ext>
            </a:extLst>
          </p:cNvPr>
          <p:cNvGrpSpPr/>
          <p:nvPr/>
        </p:nvGrpSpPr>
        <p:grpSpPr>
          <a:xfrm>
            <a:off x="6824935" y="2024052"/>
            <a:ext cx="4754880" cy="1097280"/>
            <a:chOff x="6892212" y="1619508"/>
            <a:chExt cx="4754880" cy="1097280"/>
          </a:xfrm>
        </p:grpSpPr>
        <p:pic>
          <p:nvPicPr>
            <p:cNvPr id="6" name="Picture 6">
              <a:extLst>
                <a:ext uri="{FF2B5EF4-FFF2-40B4-BE49-F238E27FC236}">
                  <a16:creationId xmlns:a16="http://schemas.microsoft.com/office/drawing/2014/main" id="{52219AD0-49FE-DFC4-A5C8-AD50E39556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2212" y="1619508"/>
              <a:ext cx="1097280" cy="1097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34FED7C-3515-40C8-E14E-8B6E37D37C9A}"/>
                </a:ext>
              </a:extLst>
            </p:cNvPr>
            <p:cNvSpPr txBox="1"/>
            <p:nvPr/>
          </p:nvSpPr>
          <p:spPr>
            <a:xfrm>
              <a:off x="7989492" y="1619508"/>
              <a:ext cx="3657600" cy="1097280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880" tIns="6985" rIns="6985" bIns="6985" numCol="1" spcCol="1270" anchor="ctr" anchorCtr="0">
              <a:noAutofit/>
            </a:bodyPr>
            <a:lstStyle/>
            <a:p>
              <a:pPr lvl="0" indent="0" defTabSz="488950">
                <a:spcBef>
                  <a:spcPts val="600"/>
                </a:spcBef>
                <a:spcAft>
                  <a:spcPts val="600"/>
                </a:spcAft>
                <a:buNone/>
              </a:pPr>
              <a:r>
                <a:rPr lang="en-US" sz="1100" b="1" dirty="0">
                  <a:solidFill>
                    <a:schemeClr val="bg2"/>
                  </a:solidFill>
                  <a:latin typeface="Sharp Sans No2 Semibold"/>
                  <a:ea typeface="Sharp Sans No2 Semibold" pitchFamily="2" charset="77"/>
                  <a:cs typeface="Sharp Sans No2 Semibold" pitchFamily="2" charset="77"/>
                </a:rPr>
                <a:t>Justen Davis</a:t>
              </a:r>
              <a:br>
                <a:rPr lang="en-US" sz="1100" b="1" dirty="0">
                  <a:latin typeface="Sharp Sans No2 Semibold" pitchFamily="2" charset="77"/>
                  <a:ea typeface="Sharp Sans No2 Semibold" pitchFamily="2" charset="77"/>
                  <a:cs typeface="Sharp Sans No2 Semibold" pitchFamily="2" charset="77"/>
                </a:rPr>
              </a:br>
              <a:r>
                <a:rPr lang="en-US" sz="1100" b="1" dirty="0">
                  <a:solidFill>
                    <a:schemeClr val="accent1"/>
                  </a:solidFill>
                  <a:latin typeface="Sharp Sans No2 Semibold"/>
                  <a:ea typeface="Sharp Sans No2 Semibold" pitchFamily="2" charset="77"/>
                  <a:cs typeface="Sharp Sans No2 Semibold" pitchFamily="2" charset="77"/>
                </a:rPr>
                <a:t>Senior Director, Industry Relations and Public Policy</a:t>
              </a:r>
            </a:p>
            <a:p>
              <a:pPr defTabSz="488950">
                <a:spcBef>
                  <a:spcPts val="600"/>
                </a:spcBef>
                <a:spcAft>
                  <a:spcPts val="600"/>
                </a:spcAft>
              </a:pPr>
              <a:r>
                <a:rPr lang="en-US" sz="1100" b="1" dirty="0">
                  <a:solidFill>
                    <a:schemeClr val="bg2"/>
                  </a:solidFill>
                  <a:latin typeface="Sharp Sans No2 Semibold"/>
                  <a:ea typeface="Sharp Sans No2 Semibold" pitchFamily="2" charset="77"/>
                  <a:cs typeface="Sharp Sans No2 Semibold" pitchFamily="2" charset="77"/>
                </a:rPr>
                <a:t>Call or Text |</a:t>
              </a:r>
              <a:r>
                <a:rPr lang="en-US" sz="1100" b="1" dirty="0">
                  <a:solidFill>
                    <a:schemeClr val="accent1"/>
                  </a:solidFill>
                  <a:latin typeface="Sharp Sans No2 Semibold"/>
                  <a:ea typeface="Sharp Sans No2 Semibold" pitchFamily="2" charset="77"/>
                  <a:cs typeface="Sharp Sans No2 Semibold" pitchFamily="2" charset="77"/>
                </a:rPr>
                <a:t> 844-HEY-JUSTEN or 844-439-5878</a:t>
              </a:r>
              <a:br>
                <a:rPr lang="en-US" sz="1100" b="1" dirty="0">
                  <a:latin typeface="Sharp Sans No2 Semibold" pitchFamily="2" charset="77"/>
                  <a:ea typeface="Sharp Sans No2 Semibold" pitchFamily="2" charset="77"/>
                  <a:cs typeface="Sharp Sans No2 Semibold" pitchFamily="2" charset="77"/>
                </a:rPr>
              </a:br>
              <a:r>
                <a:rPr lang="en-US" sz="1100" b="1" dirty="0">
                  <a:solidFill>
                    <a:schemeClr val="bg2"/>
                  </a:solidFill>
                  <a:latin typeface="Sharp Sans No2 Semibold"/>
                  <a:ea typeface="Sharp Sans No2 Semibold" pitchFamily="2" charset="77"/>
                  <a:cs typeface="Sharp Sans No2 Semibold" pitchFamily="2" charset="77"/>
                </a:rPr>
                <a:t>Email | </a:t>
              </a:r>
              <a:r>
                <a:rPr lang="en-US" sz="1100" b="1" u="sng" dirty="0" err="1">
                  <a:solidFill>
                    <a:schemeClr val="accent1"/>
                  </a:solidFill>
                  <a:latin typeface="Sharp Sans No2 Semibold"/>
                  <a:ea typeface="Sharp Sans No2 Semibold" pitchFamily="2" charset="77"/>
                  <a:cs typeface="Sharp Sans No2 Semibold" pitchFamily="2" charset="77"/>
                </a:rPr>
                <a:t>jdavis@somos.com</a:t>
              </a:r>
              <a:br>
                <a:rPr lang="en-US" sz="1100" b="1" dirty="0">
                  <a:latin typeface="Sharp Sans No2 Semibold" pitchFamily="2" charset="77"/>
                  <a:ea typeface="Sharp Sans No2 Semibold" pitchFamily="2" charset="77"/>
                  <a:cs typeface="Sharp Sans No2 Semibold" pitchFamily="2" charset="77"/>
                </a:rPr>
              </a:br>
              <a:r>
                <a:rPr lang="en-US" sz="1100" b="1" dirty="0">
                  <a:solidFill>
                    <a:schemeClr val="bg2"/>
                  </a:solidFill>
                  <a:latin typeface="Sharp Sans No2 Semibold"/>
                  <a:ea typeface="Sharp Sans No2 Semibold" pitchFamily="2" charset="77"/>
                  <a:cs typeface="Sharp Sans No2 Semibold" pitchFamily="2" charset="77"/>
                </a:rPr>
                <a:t>Web | </a:t>
              </a:r>
              <a:r>
                <a:rPr lang="en-US" sz="1100" b="1" u="sng" dirty="0">
                  <a:solidFill>
                    <a:schemeClr val="accent1"/>
                  </a:solidFill>
                  <a:latin typeface="Sharp Sans No2 Semibold"/>
                  <a:ea typeface="Sharp Sans No2 Semibold" pitchFamily="2" charset="77"/>
                  <a:cs typeface="Sharp Sans No2 Semibold" pitchFamily="2" charset="77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ww.somos.com</a:t>
              </a:r>
              <a:endParaRPr lang="en-US" sz="1100" b="1" u="sng" dirty="0">
                <a:solidFill>
                  <a:schemeClr val="accent1"/>
                </a:solidFill>
                <a:latin typeface="Sharp Sans No2 Semibold"/>
                <a:ea typeface="Sharp Sans No2 Semibold" pitchFamily="2" charset="77"/>
                <a:cs typeface="Sharp Sans No2 Semibold" pitchFamily="2" charset="77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8EC25BA-D0E7-8518-A3EC-638B2E29275A}"/>
              </a:ext>
            </a:extLst>
          </p:cNvPr>
          <p:cNvSpPr txBox="1"/>
          <p:nvPr/>
        </p:nvSpPr>
        <p:spPr>
          <a:xfrm>
            <a:off x="7922215" y="3536706"/>
            <a:ext cx="3657600" cy="1097280"/>
          </a:xfrm>
          <a:prstGeom prst="rect">
            <a:avLst/>
          </a:prstGeom>
          <a:solidFill>
            <a:schemeClr val="accent2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6985" rIns="6985" bIns="6985" numCol="1" spcCol="1270" anchor="ctr" anchorCtr="0">
            <a:noAutofit/>
          </a:bodyPr>
          <a:lstStyle/>
          <a:p>
            <a:pPr lvl="0" indent="0" defTabSz="48895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100" b="1" dirty="0">
                <a:solidFill>
                  <a:schemeClr val="bg2"/>
                </a:solidFill>
                <a:latin typeface="Sharp Sans No2 Semibold"/>
                <a:ea typeface="Sharp Sans No2 Semibold" pitchFamily="2" charset="77"/>
                <a:cs typeface="Sharp Sans No2 Semibold" pitchFamily="2" charset="77"/>
              </a:rPr>
              <a:t>Ann Berkowitz</a:t>
            </a:r>
            <a:br>
              <a:rPr lang="en-US" sz="1100" b="1" dirty="0"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rPr>
            </a:br>
            <a:r>
              <a:rPr lang="en-US" sz="1100" b="1" dirty="0">
                <a:solidFill>
                  <a:schemeClr val="accent1"/>
                </a:solidFill>
                <a:latin typeface="Sharp Sans No2 Semibold"/>
                <a:ea typeface="Sharp Sans No2 Semibold" pitchFamily="2" charset="77"/>
                <a:cs typeface="Sharp Sans No2 Semibold" pitchFamily="2" charset="77"/>
              </a:rPr>
              <a:t>SVP &amp; CAO, Strategic Public Policy &amp; Number Administration</a:t>
            </a:r>
          </a:p>
          <a:p>
            <a:pPr defTabSz="488950">
              <a:spcBef>
                <a:spcPts val="600"/>
              </a:spcBef>
              <a:spcAft>
                <a:spcPts val="600"/>
              </a:spcAft>
            </a:pPr>
            <a:r>
              <a:rPr lang="en-US" sz="1100" b="1" dirty="0">
                <a:solidFill>
                  <a:schemeClr val="bg2"/>
                </a:solidFill>
                <a:latin typeface="Sharp Sans No2 Semibold"/>
                <a:ea typeface="Sharp Sans No2 Semibold" pitchFamily="2" charset="77"/>
                <a:cs typeface="Sharp Sans No2 Semibold" pitchFamily="2" charset="77"/>
              </a:rPr>
              <a:t>Call or Text |</a:t>
            </a:r>
            <a:r>
              <a:rPr lang="en-US" sz="1100" b="1" dirty="0">
                <a:solidFill>
                  <a:schemeClr val="accent1"/>
                </a:solidFill>
                <a:latin typeface="Sharp Sans No2 Semibold"/>
                <a:ea typeface="Sharp Sans No2 Semibold" pitchFamily="2" charset="77"/>
                <a:cs typeface="Sharp Sans No2 Semibold" pitchFamily="2" charset="77"/>
              </a:rPr>
              <a:t> 844-800-HI-ANN or 844-800-4424</a:t>
            </a:r>
            <a:br>
              <a:rPr lang="en-US" sz="1100" b="1" dirty="0"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rPr>
            </a:br>
            <a:r>
              <a:rPr lang="en-US" sz="1100" b="1" dirty="0">
                <a:solidFill>
                  <a:schemeClr val="bg2"/>
                </a:solidFill>
                <a:latin typeface="Sharp Sans No2 Semibold"/>
                <a:ea typeface="Sharp Sans No2 Semibold" pitchFamily="2" charset="77"/>
                <a:cs typeface="Sharp Sans No2 Semibold" pitchFamily="2" charset="77"/>
              </a:rPr>
              <a:t>Email | </a:t>
            </a:r>
            <a:r>
              <a:rPr lang="en-US" sz="1100" b="1" u="sng" dirty="0" err="1">
                <a:solidFill>
                  <a:schemeClr val="accent1"/>
                </a:solidFill>
                <a:latin typeface="Sharp Sans No2 Semibold"/>
                <a:ea typeface="Sharp Sans No2 Semibold" pitchFamily="2" charset="77"/>
                <a:cs typeface="Sharp Sans No2 Semibold" pitchFamily="2" charset="77"/>
              </a:rPr>
              <a:t>aberkowitz@somos.com</a:t>
            </a:r>
            <a:br>
              <a:rPr lang="en-US" sz="1100" b="1" dirty="0"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rPr>
            </a:br>
            <a:r>
              <a:rPr lang="en-US" sz="1100" b="1" dirty="0">
                <a:solidFill>
                  <a:schemeClr val="bg2"/>
                </a:solidFill>
                <a:latin typeface="Sharp Sans No2 Semibold"/>
                <a:ea typeface="Sharp Sans No2 Semibold" pitchFamily="2" charset="77"/>
                <a:cs typeface="Sharp Sans No2 Semibold" pitchFamily="2" charset="77"/>
              </a:rPr>
              <a:t>Web | </a:t>
            </a:r>
            <a:r>
              <a:rPr lang="en-US" sz="1100" b="1" u="sng" dirty="0">
                <a:solidFill>
                  <a:schemeClr val="accent1"/>
                </a:solidFill>
                <a:latin typeface="Sharp Sans No2 Semibold"/>
                <a:ea typeface="Sharp Sans No2 Semibold" pitchFamily="2" charset="77"/>
                <a:cs typeface="Sharp Sans No2 Semibold" pitchFamily="2" charset="77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omos.com</a:t>
            </a:r>
            <a:endParaRPr lang="en-US" sz="1100" b="1" u="sng" dirty="0">
              <a:solidFill>
                <a:schemeClr val="accent1"/>
              </a:solidFill>
              <a:latin typeface="Sharp Sans No2 Semibold"/>
              <a:ea typeface="Sharp Sans No2 Semibold" pitchFamily="2" charset="77"/>
              <a:cs typeface="Sharp Sans No2 Semibold" pitchFamily="2" charset="77"/>
            </a:endParaRPr>
          </a:p>
        </p:txBody>
      </p:sp>
      <p:pic>
        <p:nvPicPr>
          <p:cNvPr id="5122" name="Picture 2" descr="Ann Berkowitz">
            <a:extLst>
              <a:ext uri="{FF2B5EF4-FFF2-40B4-BE49-F238E27FC236}">
                <a16:creationId xmlns:a16="http://schemas.microsoft.com/office/drawing/2014/main" id="{33BACD89-DC44-7CAF-98CC-8B24F5080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4935" y="3536706"/>
            <a:ext cx="1097280" cy="109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653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1E9C1-DCE4-B3DD-A808-E7909B214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353675" cy="1325563"/>
          </a:xfrm>
        </p:spPr>
        <p:txBody>
          <a:bodyPr/>
          <a:lstStyle/>
          <a:p>
            <a:r>
              <a:rPr lang="en-US" err="1"/>
              <a:t>Somos</a:t>
            </a:r>
            <a:r>
              <a:rPr lang="en-US"/>
              <a:t> U.S. Number Administration Responsibilit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86CF73-08A4-1F88-E145-5D8C60C9B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2375" y="6322861"/>
            <a:ext cx="2743200" cy="365125"/>
          </a:xfrm>
        </p:spPr>
        <p:txBody>
          <a:bodyPr/>
          <a:lstStyle/>
          <a:p>
            <a:fld id="{E429DF5D-226D-BC4F-AD0E-80139D210728}" type="slidenum">
              <a:rPr lang="en-US" smtClean="0"/>
              <a:pPr/>
              <a:t>2</a:t>
            </a:fld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1953B99-E17B-C7F1-655F-633B2690E4FD}"/>
              </a:ext>
            </a:extLst>
          </p:cNvPr>
          <p:cNvCxnSpPr>
            <a:cxnSpLocks/>
            <a:stCxn id="11" idx="1"/>
            <a:endCxn id="14" idx="0"/>
          </p:cNvCxnSpPr>
          <p:nvPr/>
        </p:nvCxnSpPr>
        <p:spPr>
          <a:xfrm flipH="1">
            <a:off x="2295708" y="2159492"/>
            <a:ext cx="2274369" cy="631294"/>
          </a:xfrm>
          <a:prstGeom prst="straightConnector1">
            <a:avLst/>
          </a:prstGeom>
          <a:ln w="38100">
            <a:solidFill>
              <a:schemeClr val="accent1"/>
            </a:solidFill>
            <a:headEnd type="none" w="sm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0D76BEC-F0C9-334A-2675-823209009224}"/>
              </a:ext>
            </a:extLst>
          </p:cNvPr>
          <p:cNvCxnSpPr>
            <a:cxnSpLocks/>
            <a:stCxn id="20" idx="0"/>
            <a:endCxn id="11" idx="3"/>
          </p:cNvCxnSpPr>
          <p:nvPr/>
        </p:nvCxnSpPr>
        <p:spPr>
          <a:xfrm flipH="1" flipV="1">
            <a:off x="6588297" y="2159492"/>
            <a:ext cx="2175142" cy="631294"/>
          </a:xfrm>
          <a:prstGeom prst="straightConnector1">
            <a:avLst/>
          </a:prstGeom>
          <a:ln w="38100">
            <a:solidFill>
              <a:schemeClr val="accent1"/>
            </a:solidFill>
            <a:prstDash val="solid"/>
            <a:headEnd type="none" w="sm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A33C0A9-3E10-9FAF-5F60-02DA618CAC98}"/>
              </a:ext>
            </a:extLst>
          </p:cNvPr>
          <p:cNvCxnSpPr>
            <a:cxnSpLocks/>
            <a:stCxn id="11" idx="2"/>
            <a:endCxn id="17" idx="0"/>
          </p:cNvCxnSpPr>
          <p:nvPr/>
        </p:nvCxnSpPr>
        <p:spPr>
          <a:xfrm flipH="1">
            <a:off x="5578880" y="2847091"/>
            <a:ext cx="307" cy="417289"/>
          </a:xfrm>
          <a:prstGeom prst="straightConnector1">
            <a:avLst/>
          </a:prstGeom>
          <a:ln w="38100">
            <a:solidFill>
              <a:schemeClr val="accent1"/>
            </a:solidFill>
            <a:headEnd type="none" w="sm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29880D2B-7704-EEA5-4DDE-8952776E7754}"/>
              </a:ext>
            </a:extLst>
          </p:cNvPr>
          <p:cNvGrpSpPr/>
          <p:nvPr/>
        </p:nvGrpSpPr>
        <p:grpSpPr>
          <a:xfrm>
            <a:off x="4570077" y="1471892"/>
            <a:ext cx="2018220" cy="1375199"/>
            <a:chOff x="8148463" y="1091274"/>
            <a:chExt cx="2018220" cy="1375199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0F4BBE1-A4D2-EFE4-FD2D-BD1829DC816E}"/>
                </a:ext>
              </a:extLst>
            </p:cNvPr>
            <p:cNvSpPr/>
            <p:nvPr/>
          </p:nvSpPr>
          <p:spPr>
            <a:xfrm>
              <a:off x="8148463" y="1091274"/>
              <a:ext cx="2018220" cy="1375199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F4A75"/>
                  </a:solidFill>
                  <a:effectLst/>
                  <a:uLnTx/>
                  <a:uFillTx/>
                  <a:latin typeface="Sharp Sans No2 Semibold" charset="0"/>
                  <a:ea typeface="Sharp Sans No2 Semibold" charset="0"/>
                  <a:cs typeface="Sharp Sans No2 Semibold" charset="0"/>
                </a:rPr>
                <a:t>FCC</a:t>
              </a:r>
            </a:p>
          </p:txBody>
        </p:sp>
        <p:pic>
          <p:nvPicPr>
            <p:cNvPr id="12" name="Picture 8">
              <a:extLst>
                <a:ext uri="{FF2B5EF4-FFF2-40B4-BE49-F238E27FC236}">
                  <a16:creationId xmlns:a16="http://schemas.microsoft.com/office/drawing/2014/main" id="{D8444467-BEEE-8C36-7470-8A6A8F27EF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7043" y="1217604"/>
              <a:ext cx="1122537" cy="1122537"/>
            </a:xfrm>
            <a:prstGeom prst="rect">
              <a:avLst/>
            </a:prstGeom>
            <a:grpFill/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FEDE048-DB7A-4BE7-2EAA-F3823EAD0093}"/>
              </a:ext>
            </a:extLst>
          </p:cNvPr>
          <p:cNvGrpSpPr/>
          <p:nvPr/>
        </p:nvGrpSpPr>
        <p:grpSpPr>
          <a:xfrm>
            <a:off x="1286598" y="2790786"/>
            <a:ext cx="2018220" cy="2835484"/>
            <a:chOff x="1535815" y="851006"/>
            <a:chExt cx="2018220" cy="283548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88E2A12-6379-E763-DCB5-36482954545B}"/>
                </a:ext>
              </a:extLst>
            </p:cNvPr>
            <p:cNvSpPr/>
            <p:nvPr/>
          </p:nvSpPr>
          <p:spPr>
            <a:xfrm>
              <a:off x="1535815" y="851006"/>
              <a:ext cx="2018220" cy="1570865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3F4A75"/>
                  </a:solidFill>
                  <a:effectLst/>
                  <a:uLnTx/>
                  <a:uFillTx/>
                  <a:latin typeface="Sharp Sans No2 Semibold" charset="0"/>
                  <a:ea typeface="Sharp Sans No2 Semibold" charset="0"/>
                  <a:cs typeface="Sharp Sans No2 Semibold" charset="0"/>
                </a:rPr>
                <a:t>North American Numbering Plan Administrator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3F4A75"/>
                  </a:solidFill>
                  <a:effectLst/>
                  <a:uLnTx/>
                  <a:uFillTx/>
                  <a:latin typeface="Sharp Sans No2 Semibold" charset="0"/>
                  <a:ea typeface="Sharp Sans No2 Semibold" charset="0"/>
                  <a:cs typeface="Sharp Sans No2 Semibold" charset="0"/>
                </a:rPr>
                <a:t>(NANPA)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4F5AC19-6A47-8DC5-75C5-D2831BBE0B88}"/>
                </a:ext>
              </a:extLst>
            </p:cNvPr>
            <p:cNvSpPr/>
            <p:nvPr/>
          </p:nvSpPr>
          <p:spPr>
            <a:xfrm>
              <a:off x="1535815" y="2522923"/>
              <a:ext cx="2018219" cy="116356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F4A75"/>
                  </a:solidFill>
                  <a:effectLst/>
                  <a:uLnTx/>
                  <a:uFillTx/>
                  <a:latin typeface="Sharp Sans No2 Semibold" charset="0"/>
                  <a:ea typeface="Sharp Sans No2 Semibold" charset="0"/>
                  <a:cs typeface="Sharp Sans No2 Semibold" charset="0"/>
                </a:rPr>
                <a:t>Provisioning and assignment of 10-digit, geographic number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F7D71F9-D8AA-7FC0-72B1-72EBFD5FF13F}"/>
              </a:ext>
            </a:extLst>
          </p:cNvPr>
          <p:cNvGrpSpPr/>
          <p:nvPr/>
        </p:nvGrpSpPr>
        <p:grpSpPr>
          <a:xfrm>
            <a:off x="4569770" y="3264380"/>
            <a:ext cx="2018220" cy="2835484"/>
            <a:chOff x="1535815" y="851006"/>
            <a:chExt cx="2018220" cy="2835484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C93B8F4-5EE0-E1EC-CF44-179D5458AF74}"/>
                </a:ext>
              </a:extLst>
            </p:cNvPr>
            <p:cNvSpPr/>
            <p:nvPr/>
          </p:nvSpPr>
          <p:spPr>
            <a:xfrm>
              <a:off x="1535815" y="851006"/>
              <a:ext cx="2018220" cy="1570865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F4A75"/>
                  </a:solidFill>
                  <a:effectLst/>
                  <a:uLnTx/>
                  <a:uFillTx/>
                  <a:latin typeface="Sharp Sans No2 Semibold" charset="0"/>
                  <a:ea typeface="Sharp Sans No2 Semibold" charset="0"/>
                  <a:cs typeface="Sharp Sans No2 Semibold" charset="0"/>
                </a:rPr>
                <a:t>Reassigned Numbers Database Administrator (RNDA)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CC03E01-79B3-0208-BEC8-B2E6DD63E745}"/>
                </a:ext>
              </a:extLst>
            </p:cNvPr>
            <p:cNvSpPr/>
            <p:nvPr/>
          </p:nvSpPr>
          <p:spPr>
            <a:xfrm>
              <a:off x="1535815" y="2522923"/>
              <a:ext cx="2018219" cy="116356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F4A75"/>
                  </a:solidFill>
                  <a:effectLst/>
                  <a:uLnTx/>
                  <a:uFillTx/>
                  <a:latin typeface="Sharp Sans No2 Semibold" charset="0"/>
                  <a:ea typeface="Sharp Sans No2 Semibold" charset="0"/>
                  <a:cs typeface="Sharp Sans No2 Semibold" charset="0"/>
                </a:rPr>
                <a:t>Subscription-based querying service for all disconnected TNs in the U.S.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C5B4A97-91C0-5CB4-B249-1BDA244D4061}"/>
              </a:ext>
            </a:extLst>
          </p:cNvPr>
          <p:cNvGrpSpPr/>
          <p:nvPr/>
        </p:nvGrpSpPr>
        <p:grpSpPr>
          <a:xfrm>
            <a:off x="7754329" y="2790786"/>
            <a:ext cx="2018220" cy="2835484"/>
            <a:chOff x="1535815" y="851006"/>
            <a:chExt cx="2018220" cy="2835484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D1A455C-1C1D-DAE8-A310-DE894C7BBAA3}"/>
                </a:ext>
              </a:extLst>
            </p:cNvPr>
            <p:cNvSpPr/>
            <p:nvPr/>
          </p:nvSpPr>
          <p:spPr>
            <a:xfrm>
              <a:off x="1535815" y="851006"/>
              <a:ext cx="2018220" cy="1570865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F4A75"/>
                  </a:solidFill>
                  <a:effectLst/>
                  <a:uLnTx/>
                  <a:uFillTx/>
                  <a:latin typeface="Sharp Sans No2 Semibold" charset="0"/>
                  <a:ea typeface="Sharp Sans No2 Semibold" charset="0"/>
                  <a:cs typeface="Sharp Sans No2 Semibold" charset="0"/>
                </a:rPr>
                <a:t>Toll Free Number Administrator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F4A75"/>
                  </a:solidFill>
                  <a:effectLst/>
                  <a:uLnTx/>
                  <a:uFillTx/>
                  <a:latin typeface="Sharp Sans No2 Semibold" charset="0"/>
                  <a:ea typeface="Sharp Sans No2 Semibold" charset="0"/>
                  <a:cs typeface="Sharp Sans No2 Semibold" charset="0"/>
                </a:rPr>
                <a:t>(TFNA)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2806E32-411E-B728-852B-54448F463ABC}"/>
                </a:ext>
              </a:extLst>
            </p:cNvPr>
            <p:cNvSpPr/>
            <p:nvPr/>
          </p:nvSpPr>
          <p:spPr>
            <a:xfrm>
              <a:off x="1535815" y="2522923"/>
              <a:ext cx="2018219" cy="116356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F4A75"/>
                  </a:solidFill>
                  <a:effectLst/>
                  <a:uLnTx/>
                  <a:uFillTx/>
                  <a:latin typeface="Sharp Sans No2 Semibold" charset="0"/>
                  <a:ea typeface="Sharp Sans No2 Semibold" charset="0"/>
                  <a:cs typeface="Sharp Sans No2 Semibold" charset="0"/>
                </a:rPr>
                <a:t>Provisioning and Porting of Toll-Free number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6813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4FD69BF3-4E0B-8560-1244-9FA879CE7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353675" cy="1325563"/>
          </a:xfrm>
        </p:spPr>
        <p:txBody>
          <a:bodyPr/>
          <a:lstStyle/>
          <a:p>
            <a:r>
              <a:rPr lang="en-US"/>
              <a:t>What is the Problem?</a:t>
            </a:r>
            <a:br>
              <a:rPr lang="en-US"/>
            </a:br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8C7674-A133-0C71-6652-CCE3676FA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2375" y="6322861"/>
            <a:ext cx="2743200" cy="365125"/>
          </a:xfrm>
        </p:spPr>
        <p:txBody>
          <a:bodyPr/>
          <a:lstStyle/>
          <a:p>
            <a:fld id="{E429DF5D-226D-BC4F-AD0E-80139D21072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4A84B50-05B7-2424-C2EE-ED5A0B1A70E9}"/>
              </a:ext>
            </a:extLst>
          </p:cNvPr>
          <p:cNvSpPr txBox="1">
            <a:spLocks/>
          </p:cNvSpPr>
          <p:nvPr/>
        </p:nvSpPr>
        <p:spPr>
          <a:xfrm>
            <a:off x="508646" y="306168"/>
            <a:ext cx="10515599" cy="7596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accent1"/>
                </a:solidFill>
                <a:latin typeface="+mj-lt"/>
                <a:ea typeface="Sharp Sans No2 Bold" charset="0"/>
                <a:cs typeface="SharpSansNo2-Semibold"/>
              </a:defRPr>
            </a:lvl1pPr>
          </a:lstStyle>
          <a:p>
            <a:endParaRPr lang="en-US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515EBBC-EF26-9C32-4CEC-E09AE430CB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4718217"/>
              </p:ext>
            </p:extLst>
          </p:nvPr>
        </p:nvGraphicFramePr>
        <p:xfrm>
          <a:off x="508646" y="1065836"/>
          <a:ext cx="3582708" cy="5006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BCEDF77-15D7-B4DB-D545-B8D30370DC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3885314"/>
              </p:ext>
            </p:extLst>
          </p:nvPr>
        </p:nvGraphicFramePr>
        <p:xfrm>
          <a:off x="4420908" y="1065836"/>
          <a:ext cx="3582708" cy="5006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4E4F3233-C898-D945-AA39-4EA39C242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1084" y="6547632"/>
            <a:ext cx="838201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Visual Voicemail with the Best Spam Blocking | YouMail">
            <a:extLst>
              <a:ext uri="{FF2B5EF4-FFF2-40B4-BE49-F238E27FC236}">
                <a16:creationId xmlns:a16="http://schemas.microsoft.com/office/drawing/2014/main" id="{52107CD3-904C-EF68-AE0C-1ECC6F76B2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83725" y="6545116"/>
            <a:ext cx="730171" cy="2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0B9FF4F-7ABB-425F-3C69-CB15A54515B3}"/>
              </a:ext>
            </a:extLst>
          </p:cNvPr>
          <p:cNvSpPr txBox="1"/>
          <p:nvPr/>
        </p:nvSpPr>
        <p:spPr>
          <a:xfrm>
            <a:off x="8347658" y="6486796"/>
            <a:ext cx="885179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1400" b="1">
                <a:solidFill>
                  <a:schemeClr val="accent1"/>
                </a:solidFill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rPr>
              <a:t>Sources: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61A6AFC2-FE83-26A5-F6B2-BE70ED7CC8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3554408"/>
              </p:ext>
            </p:extLst>
          </p:nvPr>
        </p:nvGraphicFramePr>
        <p:xfrm>
          <a:off x="8280780" y="1065836"/>
          <a:ext cx="3584448" cy="5006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7" name="Picture 4" descr="RoboKiller">
            <a:extLst>
              <a:ext uri="{FF2B5EF4-FFF2-40B4-BE49-F238E27FC236}">
                <a16:creationId xmlns:a16="http://schemas.microsoft.com/office/drawing/2014/main" id="{EC5D141A-AEE0-7686-5FFA-1AAC5B8E9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49285" y="6486796"/>
            <a:ext cx="885179" cy="371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80925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C1F1A6-9787-2622-7C2B-9FD8D48B7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NO as </a:t>
            </a:r>
            <a:r>
              <a:rPr lang="en-US" dirty="0"/>
              <a:t>a </a:t>
            </a:r>
            <a:r>
              <a:rPr lang="en-US"/>
              <a:t>Solutio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3278D4-277C-8AEF-6957-1706142EB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29DF5D-226D-BC4F-AD0E-80139D210728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harp Sans No2 Semibold"/>
                <a:ea typeface="Sharp Sans No2 Semibold" charset="0"/>
                <a:cs typeface="Sharp Sans No2 Semibold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arp Sans No2 Semibold"/>
              <a:ea typeface="Sharp Sans No2 Semibold" charset="0"/>
              <a:cs typeface="Sharp Sans No2 Semibold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CB854C-AFD9-0F44-6773-4F8DC3D21CA6}"/>
              </a:ext>
            </a:extLst>
          </p:cNvPr>
          <p:cNvGrpSpPr/>
          <p:nvPr/>
        </p:nvGrpSpPr>
        <p:grpSpPr>
          <a:xfrm>
            <a:off x="2390295" y="2385181"/>
            <a:ext cx="5941384" cy="1371600"/>
            <a:chOff x="1618025" y="2496394"/>
            <a:chExt cx="5941384" cy="13716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DAC79220-937F-35CA-8B23-C79C28195F2D}"/>
                </a:ext>
              </a:extLst>
            </p:cNvPr>
            <p:cNvSpPr/>
            <p:nvPr/>
          </p:nvSpPr>
          <p:spPr>
            <a:xfrm>
              <a:off x="1618025" y="2496394"/>
              <a:ext cx="1371600" cy="13716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harp Sans No2 Semibold"/>
                <a:ea typeface="+mn-ea"/>
                <a:cs typeface="+mn-cs"/>
              </a:endParaRPr>
            </a:p>
          </p:txBody>
        </p:sp>
        <p:pic>
          <p:nvPicPr>
            <p:cNvPr id="8" name="Graphic 7" descr="Call center with solid fill">
              <a:extLst>
                <a:ext uri="{FF2B5EF4-FFF2-40B4-BE49-F238E27FC236}">
                  <a16:creationId xmlns:a16="http://schemas.microsoft.com/office/drawing/2014/main" id="{BBA7AB44-B139-FF31-08F5-CE27BC177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55185" y="2633554"/>
              <a:ext cx="1097280" cy="1097280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ED73C48-FCDA-820A-1452-3BDC565CE937}"/>
                </a:ext>
              </a:extLst>
            </p:cNvPr>
            <p:cNvSpPr txBox="1"/>
            <p:nvPr/>
          </p:nvSpPr>
          <p:spPr>
            <a:xfrm>
              <a:off x="3126785" y="2915385"/>
              <a:ext cx="443262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harp Sans No2 Semibold"/>
                  <a:ea typeface="+mn-ea"/>
                  <a:cs typeface="+mn-cs"/>
                </a:rPr>
                <a:t>Inbound Contact Centers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CBCE8A1-FDD6-DBFC-3D43-8FA85483D4C3}"/>
              </a:ext>
            </a:extLst>
          </p:cNvPr>
          <p:cNvGrpSpPr/>
          <p:nvPr/>
        </p:nvGrpSpPr>
        <p:grpSpPr>
          <a:xfrm>
            <a:off x="5317863" y="5205420"/>
            <a:ext cx="3788551" cy="1371600"/>
            <a:chOff x="2989625" y="3867994"/>
            <a:chExt cx="3788551" cy="13716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1E48C77-755D-427D-B5DB-9D0E0420CD35}"/>
                </a:ext>
              </a:extLst>
            </p:cNvPr>
            <p:cNvSpPr/>
            <p:nvPr/>
          </p:nvSpPr>
          <p:spPr>
            <a:xfrm>
              <a:off x="2989625" y="3867994"/>
              <a:ext cx="1371600" cy="13716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harp Sans No2 Semibold"/>
                <a:ea typeface="+mn-ea"/>
                <a:cs typeface="+mn-cs"/>
              </a:endParaRPr>
            </a:p>
          </p:txBody>
        </p:sp>
        <p:pic>
          <p:nvPicPr>
            <p:cNvPr id="15" name="Graphic 14" descr="Internet Of Things outline">
              <a:extLst>
                <a:ext uri="{FF2B5EF4-FFF2-40B4-BE49-F238E27FC236}">
                  <a16:creationId xmlns:a16="http://schemas.microsoft.com/office/drawing/2014/main" id="{A1B110BF-7093-C5F5-8B3C-794112ABA9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26785" y="4005154"/>
              <a:ext cx="1097280" cy="109728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9A7A7CB-80D1-F7AB-4628-F73B9347CDD6}"/>
                </a:ext>
              </a:extLst>
            </p:cNvPr>
            <p:cNvSpPr txBox="1"/>
            <p:nvPr/>
          </p:nvSpPr>
          <p:spPr>
            <a:xfrm>
              <a:off x="4498385" y="4292184"/>
              <a:ext cx="227979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harp Sans No2 Semibold"/>
                  <a:ea typeface="+mn-ea"/>
                  <a:cs typeface="+mn-cs"/>
                </a:rPr>
                <a:t>IoT Numbers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A6A832D-0233-2716-3242-D22584C676EE}"/>
              </a:ext>
            </a:extLst>
          </p:cNvPr>
          <p:cNvGrpSpPr/>
          <p:nvPr/>
        </p:nvGrpSpPr>
        <p:grpSpPr>
          <a:xfrm>
            <a:off x="3809103" y="3833820"/>
            <a:ext cx="6404652" cy="1371600"/>
            <a:chOff x="4361225" y="5239594"/>
            <a:chExt cx="6404652" cy="137160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C77D5DA3-13DF-8F87-944A-CCC30B6936E3}"/>
                </a:ext>
              </a:extLst>
            </p:cNvPr>
            <p:cNvSpPr/>
            <p:nvPr/>
          </p:nvSpPr>
          <p:spPr>
            <a:xfrm>
              <a:off x="4361225" y="5239594"/>
              <a:ext cx="1371600" cy="13716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harp Sans No2 Semibold"/>
                <a:ea typeface="+mn-ea"/>
                <a:cs typeface="+mn-cs"/>
              </a:endParaRPr>
            </a:p>
          </p:txBody>
        </p:sp>
        <p:pic>
          <p:nvPicPr>
            <p:cNvPr id="17" name="Graphic 16" descr="Hashtag with solid fill">
              <a:extLst>
                <a:ext uri="{FF2B5EF4-FFF2-40B4-BE49-F238E27FC236}">
                  <a16:creationId xmlns:a16="http://schemas.microsoft.com/office/drawing/2014/main" id="{2E91B0B7-10C0-F3BA-8C50-94F293F7572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98385" y="5376754"/>
              <a:ext cx="1097280" cy="109728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56E6FF8-1BAC-BAB0-CF6D-179E98D27661}"/>
                </a:ext>
              </a:extLst>
            </p:cNvPr>
            <p:cNvSpPr txBox="1"/>
            <p:nvPr/>
          </p:nvSpPr>
          <p:spPr>
            <a:xfrm>
              <a:off x="5869985" y="5663784"/>
              <a:ext cx="489589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harp Sans No2 Semibold"/>
                  <a:ea typeface="+mn-ea"/>
                  <a:cs typeface="+mn-cs"/>
                </a:rPr>
                <a:t>Billing </a:t>
              </a:r>
              <a:r>
                <a:rPr lang="en-US" sz="2800" dirty="0">
                  <a:solidFill>
                    <a:prstClr val="white"/>
                  </a:solidFill>
                  <a:latin typeface="Sharp Sans No2 Semibold"/>
                </a:rPr>
                <a:t>&amp; Stationary Numbers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harp Sans No2 Semibold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A0CFD01-29F8-65D8-4ECF-B579CE38D099}"/>
              </a:ext>
            </a:extLst>
          </p:cNvPr>
          <p:cNvGrpSpPr/>
          <p:nvPr/>
        </p:nvGrpSpPr>
        <p:grpSpPr>
          <a:xfrm>
            <a:off x="875815" y="1013581"/>
            <a:ext cx="7348820" cy="1371600"/>
            <a:chOff x="246425" y="1124794"/>
            <a:chExt cx="7348820" cy="137160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7CB04F4-0B00-ED78-9D9F-67B1BD8B568D}"/>
                </a:ext>
              </a:extLst>
            </p:cNvPr>
            <p:cNvSpPr/>
            <p:nvPr/>
          </p:nvSpPr>
          <p:spPr>
            <a:xfrm>
              <a:off x="246425" y="1124794"/>
              <a:ext cx="1371600" cy="13716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harp Sans No2 Semibold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3A230CA-48F7-B439-6344-2E1305341196}"/>
                </a:ext>
              </a:extLst>
            </p:cNvPr>
            <p:cNvSpPr txBox="1"/>
            <p:nvPr/>
          </p:nvSpPr>
          <p:spPr>
            <a:xfrm>
              <a:off x="1755185" y="1548984"/>
              <a:ext cx="584006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harp Sans No2 Semibold"/>
                  <a:ea typeface="+mn-ea"/>
                  <a:cs typeface="+mn-cs"/>
                </a:rPr>
                <a:t>Unassigned / Unallocated / Invalid</a:t>
              </a:r>
            </a:p>
          </p:txBody>
        </p:sp>
        <p:pic>
          <p:nvPicPr>
            <p:cNvPr id="23" name="Graphic 22" descr="No sign with solid fill">
              <a:extLst>
                <a:ext uri="{FF2B5EF4-FFF2-40B4-BE49-F238E27FC236}">
                  <a16:creationId xmlns:a16="http://schemas.microsoft.com/office/drawing/2014/main" id="{09CD3E3E-AE5A-DAC3-5CA8-7D6FE7BC68F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3585" y="1261954"/>
              <a:ext cx="1097280" cy="10972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70439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Title 5">
            <a:extLst>
              <a:ext uri="{FF2B5EF4-FFF2-40B4-BE49-F238E27FC236}">
                <a16:creationId xmlns:a16="http://schemas.microsoft.com/office/drawing/2014/main" id="{68A14C7E-78FC-D88B-F691-5405F5971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2856" y="0"/>
            <a:ext cx="10353675" cy="1325563"/>
          </a:xfrm>
        </p:spPr>
        <p:txBody>
          <a:bodyPr/>
          <a:lstStyle/>
          <a:p>
            <a:r>
              <a:rPr lang="en-US" dirty="0"/>
              <a:t>How can DNO Support Fraud Mitigation Effort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DE1D2F-155C-0CA9-244E-752D7EB1F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2375" y="6322861"/>
            <a:ext cx="2743200" cy="365125"/>
          </a:xfrm>
        </p:spPr>
        <p:txBody>
          <a:bodyPr/>
          <a:lstStyle/>
          <a:p>
            <a:fld id="{E429DF5D-226D-BC4F-AD0E-80139D210728}" type="slidenum">
              <a:rPr lang="en-US" smtClean="0"/>
              <a:pPr/>
              <a:t>5</a:t>
            </a:fld>
            <a:endParaRPr lang="en-US"/>
          </a:p>
        </p:txBody>
      </p:sp>
      <p:graphicFrame>
        <p:nvGraphicFramePr>
          <p:cNvPr id="130" name="Chart 129">
            <a:extLst>
              <a:ext uri="{FF2B5EF4-FFF2-40B4-BE49-F238E27FC236}">
                <a16:creationId xmlns:a16="http://schemas.microsoft.com/office/drawing/2014/main" id="{FAF8AC45-1739-B39D-59D2-EBF63D58BE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3288454"/>
              </p:ext>
            </p:extLst>
          </p:nvPr>
        </p:nvGraphicFramePr>
        <p:xfrm>
          <a:off x="1169043" y="1114616"/>
          <a:ext cx="9853914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C844BED0-E0DD-D7F7-1B55-377389B1C65A}"/>
              </a:ext>
            </a:extLst>
          </p:cNvPr>
          <p:cNvGrpSpPr/>
          <p:nvPr/>
        </p:nvGrpSpPr>
        <p:grpSpPr>
          <a:xfrm>
            <a:off x="426680" y="1055729"/>
            <a:ext cx="2200792" cy="868781"/>
            <a:chOff x="270265" y="1376435"/>
            <a:chExt cx="2200792" cy="868781"/>
          </a:xfrm>
        </p:grpSpPr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0291694E-48DE-9ABD-F8F6-887BB6951408}"/>
                </a:ext>
              </a:extLst>
            </p:cNvPr>
            <p:cNvSpPr txBox="1"/>
            <p:nvPr/>
          </p:nvSpPr>
          <p:spPr>
            <a:xfrm>
              <a:off x="270265" y="1376435"/>
              <a:ext cx="220079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>
                      <a:lumMod val="65000"/>
                    </a:schemeClr>
                  </a:solidFill>
                </a:rPr>
                <a:t>Numbers that have been assigned to a provider w/active or pending service</a:t>
              </a:r>
            </a:p>
          </p:txBody>
        </p:sp>
        <p:cxnSp>
          <p:nvCxnSpPr>
            <p:cNvPr id="134" name="Elbow Connector 133">
              <a:extLst>
                <a:ext uri="{FF2B5EF4-FFF2-40B4-BE49-F238E27FC236}">
                  <a16:creationId xmlns:a16="http://schemas.microsoft.com/office/drawing/2014/main" id="{66867CCF-D70A-54DC-6F23-BAA724DAAF63}"/>
                </a:ext>
              </a:extLst>
            </p:cNvPr>
            <p:cNvCxnSpPr>
              <a:cxnSpLocks/>
              <a:stCxn id="132" idx="2"/>
            </p:cNvCxnSpPr>
            <p:nvPr/>
          </p:nvCxnSpPr>
          <p:spPr>
            <a:xfrm rot="16200000" flipH="1">
              <a:off x="1376186" y="2017241"/>
              <a:ext cx="222450" cy="233500"/>
            </a:xfrm>
            <a:prstGeom prst="bentConnector2">
              <a:avLst/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7A94478-5F3E-F5D3-5C01-4A18BE38A541}"/>
              </a:ext>
            </a:extLst>
          </p:cNvPr>
          <p:cNvGrpSpPr/>
          <p:nvPr/>
        </p:nvGrpSpPr>
        <p:grpSpPr>
          <a:xfrm>
            <a:off x="350918" y="2839634"/>
            <a:ext cx="2039484" cy="1355399"/>
            <a:chOff x="350918" y="2967829"/>
            <a:chExt cx="2039484" cy="1355399"/>
          </a:xfrm>
        </p:grpSpPr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8F4F2409-7F0D-5E13-027D-53C30C551261}"/>
                </a:ext>
              </a:extLst>
            </p:cNvPr>
            <p:cNvSpPr txBox="1"/>
            <p:nvPr/>
          </p:nvSpPr>
          <p:spPr>
            <a:xfrm>
              <a:off x="350918" y="2967829"/>
              <a:ext cx="2039484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>
                      <a:lumMod val="65000"/>
                    </a:schemeClr>
                  </a:solidFill>
                </a:rPr>
                <a:t>Numbers in-service but either Do Not Originate or are IoT/data only (can include enterprise, inbound only numbers)</a:t>
              </a:r>
            </a:p>
          </p:txBody>
        </p:sp>
        <p:cxnSp>
          <p:nvCxnSpPr>
            <p:cNvPr id="140" name="Elbow Connector 139">
              <a:extLst>
                <a:ext uri="{FF2B5EF4-FFF2-40B4-BE49-F238E27FC236}">
                  <a16:creationId xmlns:a16="http://schemas.microsoft.com/office/drawing/2014/main" id="{A5C82A5E-EDDD-F856-7667-C254F5DF0009}"/>
                </a:ext>
              </a:extLst>
            </p:cNvPr>
            <p:cNvCxnSpPr>
              <a:cxnSpLocks/>
              <a:stCxn id="139" idx="2"/>
            </p:cNvCxnSpPr>
            <p:nvPr/>
          </p:nvCxnSpPr>
          <p:spPr>
            <a:xfrm rot="16200000" flipH="1">
              <a:off x="1261421" y="4092730"/>
              <a:ext cx="339737" cy="121259"/>
            </a:xfrm>
            <a:prstGeom prst="bentConnector3">
              <a:avLst>
                <a:gd name="adj1" fmla="val 99580"/>
              </a:avLst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51D2AF7-C0A6-101F-B0CC-60C56C64F12E}"/>
              </a:ext>
            </a:extLst>
          </p:cNvPr>
          <p:cNvGrpSpPr/>
          <p:nvPr/>
        </p:nvGrpSpPr>
        <p:grpSpPr>
          <a:xfrm>
            <a:off x="486867" y="4883411"/>
            <a:ext cx="2451164" cy="818969"/>
            <a:chOff x="270265" y="4992404"/>
            <a:chExt cx="2451164" cy="818969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7659AC3D-149D-EAEA-B7AB-404A9700C6A3}"/>
                </a:ext>
              </a:extLst>
            </p:cNvPr>
            <p:cNvSpPr txBox="1"/>
            <p:nvPr/>
          </p:nvSpPr>
          <p:spPr>
            <a:xfrm>
              <a:off x="270265" y="4992404"/>
              <a:ext cx="245116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>
                      <a:lumMod val="65000"/>
                    </a:schemeClr>
                  </a:solidFill>
                </a:rPr>
                <a:t>Number ranges where the NPAs are assigned and number ranges are pending allocation</a:t>
              </a:r>
            </a:p>
          </p:txBody>
        </p:sp>
        <p:cxnSp>
          <p:nvCxnSpPr>
            <p:cNvPr id="145" name="Elbow Connector 144">
              <a:extLst>
                <a:ext uri="{FF2B5EF4-FFF2-40B4-BE49-F238E27FC236}">
                  <a16:creationId xmlns:a16="http://schemas.microsoft.com/office/drawing/2014/main" id="{2C77195F-A401-2403-AD63-59EAC6CA1268}"/>
                </a:ext>
              </a:extLst>
            </p:cNvPr>
            <p:cNvCxnSpPr>
              <a:cxnSpLocks/>
              <a:stCxn id="144" idx="2"/>
            </p:cNvCxnSpPr>
            <p:nvPr/>
          </p:nvCxnSpPr>
          <p:spPr>
            <a:xfrm rot="16200000" flipH="1">
              <a:off x="1684273" y="5450308"/>
              <a:ext cx="172638" cy="549491"/>
            </a:xfrm>
            <a:prstGeom prst="bentConnector2">
              <a:avLst/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E7393E9-357F-7912-2B28-27AF3C9379B3}"/>
              </a:ext>
            </a:extLst>
          </p:cNvPr>
          <p:cNvGrpSpPr/>
          <p:nvPr/>
        </p:nvGrpSpPr>
        <p:grpSpPr>
          <a:xfrm>
            <a:off x="8952574" y="2067803"/>
            <a:ext cx="2919248" cy="1115184"/>
            <a:chOff x="8980714" y="2389280"/>
            <a:chExt cx="2919248" cy="1115184"/>
          </a:xfrm>
        </p:grpSpPr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82215E9-4573-33E0-569A-5AEA9921C0C2}"/>
                </a:ext>
              </a:extLst>
            </p:cNvPr>
            <p:cNvSpPr txBox="1"/>
            <p:nvPr/>
          </p:nvSpPr>
          <p:spPr>
            <a:xfrm>
              <a:off x="8980714" y="2673467"/>
              <a:ext cx="291924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>
                      <a:lumMod val="65000"/>
                    </a:schemeClr>
                  </a:solidFill>
                </a:rPr>
                <a:t>NPA and NXX ranges that are invalid and cannot be utilized (ex. In the U.S. 0 [zero] and 1 [one] are invalid in A and D location of the numbering plan)</a:t>
              </a:r>
            </a:p>
          </p:txBody>
        </p:sp>
        <p:cxnSp>
          <p:nvCxnSpPr>
            <p:cNvPr id="150" name="Elbow Connector 149">
              <a:extLst>
                <a:ext uri="{FF2B5EF4-FFF2-40B4-BE49-F238E27FC236}">
                  <a16:creationId xmlns:a16="http://schemas.microsoft.com/office/drawing/2014/main" id="{5C9B3625-1201-9991-D116-DA9DD6EB6092}"/>
                </a:ext>
              </a:extLst>
            </p:cNvPr>
            <p:cNvCxnSpPr>
              <a:cxnSpLocks/>
              <a:stCxn id="149" idx="0"/>
            </p:cNvCxnSpPr>
            <p:nvPr/>
          </p:nvCxnSpPr>
          <p:spPr>
            <a:xfrm rot="16200000" flipV="1">
              <a:off x="9736336" y="1969464"/>
              <a:ext cx="284187" cy="1123819"/>
            </a:xfrm>
            <a:prstGeom prst="bentConnector2">
              <a:avLst/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B827880-A669-FEBF-FC3C-579C2064BFFE}"/>
              </a:ext>
            </a:extLst>
          </p:cNvPr>
          <p:cNvGrpSpPr/>
          <p:nvPr/>
        </p:nvGrpSpPr>
        <p:grpSpPr>
          <a:xfrm>
            <a:off x="9456213" y="4324245"/>
            <a:ext cx="2200792" cy="1077217"/>
            <a:chOff x="9693772" y="4285241"/>
            <a:chExt cx="2200792" cy="1077217"/>
          </a:xfrm>
        </p:grpSpPr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627F9A49-7875-938C-0A2F-6021D6D2AA57}"/>
                </a:ext>
              </a:extLst>
            </p:cNvPr>
            <p:cNvSpPr txBox="1"/>
            <p:nvPr/>
          </p:nvSpPr>
          <p:spPr>
            <a:xfrm>
              <a:off x="9693772" y="4285241"/>
              <a:ext cx="220079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>
                      <a:lumMod val="65000"/>
                    </a:schemeClr>
                  </a:solidFill>
                </a:rPr>
                <a:t>NPAs that are either unassigned or not available for assignment  (ex. NPAs w/N11, 555, 950 or 988)</a:t>
              </a:r>
            </a:p>
          </p:txBody>
        </p:sp>
        <p:cxnSp>
          <p:nvCxnSpPr>
            <p:cNvPr id="156" name="Elbow Connector 155">
              <a:extLst>
                <a:ext uri="{FF2B5EF4-FFF2-40B4-BE49-F238E27FC236}">
                  <a16:creationId xmlns:a16="http://schemas.microsoft.com/office/drawing/2014/main" id="{5603BF55-838C-471B-ACD3-6096E1F8AB76}"/>
                </a:ext>
              </a:extLst>
            </p:cNvPr>
            <p:cNvCxnSpPr>
              <a:cxnSpLocks/>
              <a:stCxn id="155" idx="2"/>
            </p:cNvCxnSpPr>
            <p:nvPr/>
          </p:nvCxnSpPr>
          <p:spPr>
            <a:xfrm rot="5400000">
              <a:off x="10574789" y="5143079"/>
              <a:ext cx="246221" cy="192538"/>
            </a:xfrm>
            <a:prstGeom prst="bentConnector3">
              <a:avLst>
                <a:gd name="adj1" fmla="val 98865"/>
              </a:avLst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B5E296FB-AFC6-0F80-184D-075A482F1EDB}"/>
              </a:ext>
            </a:extLst>
          </p:cNvPr>
          <p:cNvSpPr txBox="1"/>
          <p:nvPr/>
        </p:nvSpPr>
        <p:spPr>
          <a:xfrm>
            <a:off x="6176146" y="6076640"/>
            <a:ext cx="57694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</a:rPr>
              <a:t>NANP Numbering Format: NXX-NXX-XXXX / N=2-9 and X=0-9 Digit location = ABC-DEF-GHIJ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5CEF0F-6077-1993-D56C-8C6DF572D906}"/>
              </a:ext>
            </a:extLst>
          </p:cNvPr>
          <p:cNvSpPr txBox="1"/>
          <p:nvPr/>
        </p:nvSpPr>
        <p:spPr>
          <a:xfrm>
            <a:off x="270265" y="6546587"/>
            <a:ext cx="57694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</a:rPr>
              <a:t>*Denotes assumption, based on frequency of numbering application requests</a:t>
            </a:r>
          </a:p>
        </p:txBody>
      </p:sp>
    </p:spTree>
    <p:extLst>
      <p:ext uri="{BB962C8B-B14F-4D97-AF65-F5344CB8AC3E}">
        <p14:creationId xmlns:p14="http://schemas.microsoft.com/office/powerpoint/2010/main" val="38979893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D2F8CEF-4BA5-DB81-15CF-299D07895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NO Resul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30DE7D-2EEA-7153-E89B-0583C6E8C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739116B-D669-AD6A-00F6-1D3F43C9378E}"/>
              </a:ext>
            </a:extLst>
          </p:cNvPr>
          <p:cNvSpPr/>
          <p:nvPr/>
        </p:nvSpPr>
        <p:spPr>
          <a:xfrm>
            <a:off x="562707" y="1381132"/>
            <a:ext cx="3001108" cy="211015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eading Wireless Provider</a:t>
            </a:r>
          </a:p>
          <a:p>
            <a:pPr algn="ctr"/>
            <a:r>
              <a:rPr lang="en-US" sz="7200">
                <a:latin typeface="+mj-lt"/>
              </a:rPr>
              <a:t>90%</a:t>
            </a:r>
          </a:p>
          <a:p>
            <a:pPr algn="ctr"/>
            <a:r>
              <a:rPr lang="en-US"/>
              <a:t>Reduction in Reported Robocall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9CBAE60-27CA-DBF5-A44F-4A040320AB2E}"/>
              </a:ext>
            </a:extLst>
          </p:cNvPr>
          <p:cNvSpPr/>
          <p:nvPr/>
        </p:nvSpPr>
        <p:spPr>
          <a:xfrm>
            <a:off x="3719005" y="1381132"/>
            <a:ext cx="3001108" cy="211015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ier 1 Carrier</a:t>
            </a:r>
          </a:p>
          <a:p>
            <a:pPr algn="ctr"/>
            <a:r>
              <a:rPr lang="en-US" sz="7200">
                <a:latin typeface="+mj-lt"/>
              </a:rPr>
              <a:t>3%</a:t>
            </a:r>
          </a:p>
          <a:p>
            <a:pPr algn="ctr"/>
            <a:r>
              <a:rPr lang="en-US"/>
              <a:t>Hit Rate Upon Implemen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B635BE-147F-0B68-E490-6603E0C8F0F7}"/>
              </a:ext>
            </a:extLst>
          </p:cNvPr>
          <p:cNvSpPr/>
          <p:nvPr/>
        </p:nvSpPr>
        <p:spPr>
          <a:xfrm>
            <a:off x="562707" y="3655409"/>
            <a:ext cx="3001108" cy="211015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Gateway Provider</a:t>
            </a:r>
          </a:p>
          <a:p>
            <a:pPr algn="ctr"/>
            <a:r>
              <a:rPr lang="en-US" sz="7200">
                <a:latin typeface="+mj-lt"/>
              </a:rPr>
              <a:t>17%</a:t>
            </a:r>
          </a:p>
          <a:p>
            <a:pPr algn="ctr"/>
            <a:r>
              <a:rPr lang="en-US"/>
              <a:t>Hit Rate Upon Implement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8AF93C-A3B3-BE85-F85A-FD0908A693D0}"/>
              </a:ext>
            </a:extLst>
          </p:cNvPr>
          <p:cNvSpPr/>
          <p:nvPr/>
        </p:nvSpPr>
        <p:spPr>
          <a:xfrm>
            <a:off x="3719005" y="3655409"/>
            <a:ext cx="3001108" cy="211015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023</a:t>
            </a:r>
          </a:p>
          <a:p>
            <a:pPr algn="ctr"/>
            <a:r>
              <a:rPr lang="en-US" sz="7200">
                <a:latin typeface="+mj-lt"/>
              </a:rPr>
              <a:t>10%</a:t>
            </a:r>
          </a:p>
          <a:p>
            <a:pPr algn="ctr"/>
            <a:r>
              <a:rPr lang="en-US"/>
              <a:t>Of ITG Tracebacks were on </a:t>
            </a:r>
            <a:r>
              <a:rPr lang="en-US">
                <a:latin typeface="+mj-lt"/>
              </a:rPr>
              <a:t>RealNumber</a:t>
            </a:r>
            <a:r>
              <a:rPr lang="en-US" sz="1400" baseline="30000">
                <a:latin typeface="+mj-lt"/>
              </a:rPr>
              <a:t>®</a:t>
            </a:r>
            <a:r>
              <a:rPr lang="en-US">
                <a:latin typeface="+mj-lt"/>
              </a:rPr>
              <a:t> DNO</a:t>
            </a:r>
            <a:r>
              <a:rPr lang="en-US"/>
              <a:t> Li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0A6F68-5B34-EB4A-5161-D10C436E3AC4}"/>
              </a:ext>
            </a:extLst>
          </p:cNvPr>
          <p:cNvSpPr/>
          <p:nvPr/>
        </p:nvSpPr>
        <p:spPr>
          <a:xfrm>
            <a:off x="6990207" y="1381132"/>
            <a:ext cx="4700713" cy="438443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9900" b="1">
                <a:solidFill>
                  <a:schemeClr val="accent2"/>
                </a:solidFill>
                <a:latin typeface="+mj-lt"/>
              </a:rPr>
              <a:t>1</a:t>
            </a:r>
            <a:r>
              <a:rPr lang="en-US" sz="19900" b="1">
                <a:solidFill>
                  <a:schemeClr val="accent1"/>
                </a:solidFill>
                <a:latin typeface="+mj-lt"/>
              </a:rPr>
              <a:t>B</a:t>
            </a:r>
            <a:endParaRPr lang="en-US" sz="1600" b="1">
              <a:solidFill>
                <a:schemeClr val="accent1"/>
              </a:solidFill>
              <a:latin typeface="+mj-lt"/>
            </a:endParaRPr>
          </a:p>
          <a:p>
            <a:pPr algn="ctr"/>
            <a:r>
              <a:rPr lang="en-US" sz="2800">
                <a:solidFill>
                  <a:schemeClr val="accent1"/>
                </a:solidFill>
              </a:rPr>
              <a:t>Calls per Day Screened Against</a:t>
            </a:r>
          </a:p>
          <a:p>
            <a:pPr algn="ctr"/>
            <a:r>
              <a:rPr lang="en-US" sz="2800">
                <a:solidFill>
                  <a:schemeClr val="accent1"/>
                </a:solidFill>
              </a:rPr>
              <a:t>                       </a:t>
            </a:r>
            <a:r>
              <a:rPr lang="en-US" sz="2800">
                <a:solidFill>
                  <a:schemeClr val="accent1"/>
                </a:solidFill>
                <a:latin typeface="+mj-lt"/>
              </a:rPr>
              <a:t>DNO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8B6E1EB8-F190-C3ED-0B92-E0199CE16C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77908" y="5363944"/>
            <a:ext cx="2116197" cy="27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C62A9A5-875A-6FC0-41CA-859D440645AB}"/>
              </a:ext>
            </a:extLst>
          </p:cNvPr>
          <p:cNvSpPr txBox="1"/>
          <p:nvPr/>
        </p:nvSpPr>
        <p:spPr>
          <a:xfrm>
            <a:off x="7877908" y="6322861"/>
            <a:ext cx="36984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This is results from our commercial DNO product. </a:t>
            </a:r>
          </a:p>
        </p:txBody>
      </p:sp>
    </p:spTree>
    <p:extLst>
      <p:ext uri="{BB962C8B-B14F-4D97-AF65-F5344CB8AC3E}">
        <p14:creationId xmlns:p14="http://schemas.microsoft.com/office/powerpoint/2010/main" val="691989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32A19-B690-A7DA-70A7-8CD4EC2FD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219" y="2103437"/>
            <a:ext cx="2986669" cy="1325563"/>
          </a:xfrm>
        </p:spPr>
        <p:txBody>
          <a:bodyPr/>
          <a:lstStyle/>
          <a:p>
            <a:r>
              <a:rPr lang="en-US" dirty="0"/>
              <a:t>Traceback and Enforce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B09965-BD4E-D96E-C2C5-A11E6368A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ED0AEE-BEB0-5F79-185F-F76000DAA6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8888" y="51911"/>
            <a:ext cx="7689816" cy="6754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1431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23FE7B-A64A-F861-64C8-138945653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5646"/>
            <a:ext cx="10353675" cy="1325563"/>
          </a:xfrm>
        </p:spPr>
        <p:txBody>
          <a:bodyPr/>
          <a:lstStyle/>
          <a:p>
            <a:r>
              <a:rPr lang="en-US" dirty="0"/>
              <a:t>Robocall Mitigation Database and Enforce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69B91E-4248-1B86-7DEF-DEBBC8A34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9DF5D-226D-BC4F-AD0E-80139D210728}" type="slidenum">
              <a:rPr lang="en-US" smtClean="0"/>
              <a:pPr/>
              <a:t>8</a:t>
            </a:fld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5725945-8A14-27A7-0A27-399A01B4A886}"/>
              </a:ext>
            </a:extLst>
          </p:cNvPr>
          <p:cNvGrpSpPr/>
          <p:nvPr/>
        </p:nvGrpSpPr>
        <p:grpSpPr>
          <a:xfrm>
            <a:off x="1000125" y="1110167"/>
            <a:ext cx="5300314" cy="5212694"/>
            <a:chOff x="838199" y="2571058"/>
            <a:chExt cx="4160140" cy="428694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74C56F7-304B-8A7B-AF09-337859DB75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8200" y="2571058"/>
              <a:ext cx="4160139" cy="3471597"/>
            </a:xfrm>
            <a:prstGeom prst="rect">
              <a:avLst/>
            </a:prstGeom>
          </p:spPr>
        </p:pic>
        <p:sp>
          <p:nvSpPr>
            <p:cNvPr id="7" name="Document 6">
              <a:extLst>
                <a:ext uri="{FF2B5EF4-FFF2-40B4-BE49-F238E27FC236}">
                  <a16:creationId xmlns:a16="http://schemas.microsoft.com/office/drawing/2014/main" id="{9A81F19E-2BD8-9293-55F1-471F0FA9C20D}"/>
                </a:ext>
              </a:extLst>
            </p:cNvPr>
            <p:cNvSpPr/>
            <p:nvPr/>
          </p:nvSpPr>
          <p:spPr>
            <a:xfrm>
              <a:off x="838199" y="2571058"/>
              <a:ext cx="4160139" cy="4286942"/>
            </a:xfrm>
            <a:prstGeom prst="flowChartDocumen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1C16622-3BFE-939B-6A78-914D3F5C1B8C}"/>
              </a:ext>
            </a:extLst>
          </p:cNvPr>
          <p:cNvGrpSpPr/>
          <p:nvPr/>
        </p:nvGrpSpPr>
        <p:grpSpPr>
          <a:xfrm>
            <a:off x="6598549" y="1110167"/>
            <a:ext cx="5300313" cy="5357541"/>
            <a:chOff x="6096000" y="2651585"/>
            <a:chExt cx="3745832" cy="36613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E74155A2-F7A3-73F0-36A7-A928E6D09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96000" y="2651585"/>
              <a:ext cx="3745832" cy="2884421"/>
            </a:xfrm>
            <a:prstGeom prst="rect">
              <a:avLst/>
            </a:prstGeom>
          </p:spPr>
        </p:pic>
        <p:sp>
          <p:nvSpPr>
            <p:cNvPr id="15" name="Document 14">
              <a:extLst>
                <a:ext uri="{FF2B5EF4-FFF2-40B4-BE49-F238E27FC236}">
                  <a16:creationId xmlns:a16="http://schemas.microsoft.com/office/drawing/2014/main" id="{5FCE0E59-A9E1-34A9-631C-02AE48BF2390}"/>
                </a:ext>
              </a:extLst>
            </p:cNvPr>
            <p:cNvSpPr/>
            <p:nvPr/>
          </p:nvSpPr>
          <p:spPr>
            <a:xfrm>
              <a:off x="6096000" y="2651585"/>
              <a:ext cx="3745832" cy="3661300"/>
            </a:xfrm>
            <a:prstGeom prst="flowChartDocumen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487037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EE2A7511-F1D8-0A49-BC08-BDE390FF2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599" cy="759668"/>
          </a:xfrm>
        </p:spPr>
        <p:txBody>
          <a:bodyPr/>
          <a:lstStyle/>
          <a:p>
            <a:r>
              <a:rPr lang="en-US" dirty="0"/>
              <a:t>Collective Fraud Mitigation Impac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662738-350C-B649-BA68-4CC3628A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2375" y="6322861"/>
            <a:ext cx="2743200" cy="365125"/>
          </a:xfrm>
        </p:spPr>
        <p:txBody>
          <a:bodyPr/>
          <a:lstStyle/>
          <a:p>
            <a:fld id="{E429DF5D-226D-BC4F-AD0E-80139D210728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1028" name="Picture 4" descr="RoboKiller">
            <a:extLst>
              <a:ext uri="{FF2B5EF4-FFF2-40B4-BE49-F238E27FC236}">
                <a16:creationId xmlns:a16="http://schemas.microsoft.com/office/drawing/2014/main" id="{70D2ED94-E9AC-28BA-045C-3B98C9640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41996" y="6342154"/>
            <a:ext cx="885179" cy="371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B02A51B-292E-D005-9D62-2AC90E6A49E7}"/>
              </a:ext>
            </a:extLst>
          </p:cNvPr>
          <p:cNvSpPr txBox="1"/>
          <p:nvPr/>
        </p:nvSpPr>
        <p:spPr>
          <a:xfrm>
            <a:off x="9782943" y="6358279"/>
            <a:ext cx="885179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1400" b="1">
                <a:solidFill>
                  <a:schemeClr val="accent1"/>
                </a:solidFill>
                <a:latin typeface="Sharp Sans No2 Semibold" pitchFamily="2" charset="77"/>
                <a:ea typeface="Sharp Sans No2 Semibold" pitchFamily="2" charset="77"/>
                <a:cs typeface="Sharp Sans No2 Semibold" pitchFamily="2" charset="77"/>
              </a:rPr>
              <a:t>Sources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CB12F22-6858-CB18-4678-CC181D68C9B2}"/>
              </a:ext>
            </a:extLst>
          </p:cNvPr>
          <p:cNvGrpSpPr/>
          <p:nvPr/>
        </p:nvGrpSpPr>
        <p:grpSpPr>
          <a:xfrm>
            <a:off x="312339" y="3883589"/>
            <a:ext cx="11481076" cy="2580101"/>
            <a:chOff x="312339" y="3883588"/>
            <a:chExt cx="7282374" cy="212001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5732D07-BCE8-C6FA-D9C5-142932C2702C}"/>
                </a:ext>
              </a:extLst>
            </p:cNvPr>
            <p:cNvSpPr/>
            <p:nvPr/>
          </p:nvSpPr>
          <p:spPr>
            <a:xfrm>
              <a:off x="312339" y="4449393"/>
              <a:ext cx="2384808" cy="935437"/>
            </a:xfrm>
            <a:prstGeom prst="rect">
              <a:avLst/>
            </a:prstGeom>
            <a:gradFill flip="none" rotWithShape="1">
              <a:gsLst>
                <a:gs pos="15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err="1"/>
                <a:t>Robotexts</a:t>
              </a:r>
              <a:endParaRPr lang="en-US"/>
            </a:p>
          </p:txBody>
        </p:sp>
        <p:graphicFrame>
          <p:nvGraphicFramePr>
            <p:cNvPr id="16" name="Chart 15">
              <a:extLst>
                <a:ext uri="{FF2B5EF4-FFF2-40B4-BE49-F238E27FC236}">
                  <a16:creationId xmlns:a16="http://schemas.microsoft.com/office/drawing/2014/main" id="{B1A1E956-4AB0-C1DF-3805-AC5AE0E09960}"/>
                </a:ext>
              </a:extLst>
            </p:cNvPr>
            <p:cNvGraphicFramePr/>
            <p:nvPr/>
          </p:nvGraphicFramePr>
          <p:xfrm>
            <a:off x="2697146" y="3883588"/>
            <a:ext cx="4897567" cy="206704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5A35638-970C-7EF8-E1B1-61D73A9DECED}"/>
                </a:ext>
              </a:extLst>
            </p:cNvPr>
            <p:cNvSpPr txBox="1"/>
            <p:nvPr/>
          </p:nvSpPr>
          <p:spPr>
            <a:xfrm>
              <a:off x="4786696" y="5801292"/>
              <a:ext cx="455718" cy="2023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>
                  <a:solidFill>
                    <a:schemeClr val="accent1"/>
                  </a:solidFill>
                </a:rPr>
                <a:t>BILLION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4820A42-50E9-A167-ACBF-56079CBF6534}"/>
              </a:ext>
            </a:extLst>
          </p:cNvPr>
          <p:cNvGrpSpPr/>
          <p:nvPr/>
        </p:nvGrpSpPr>
        <p:grpSpPr>
          <a:xfrm>
            <a:off x="312339" y="1198162"/>
            <a:ext cx="11481076" cy="2620512"/>
            <a:chOff x="312339" y="1198162"/>
            <a:chExt cx="7282375" cy="206704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CF9A0AE-6A30-F22B-9F29-3C6777DE712F}"/>
                </a:ext>
              </a:extLst>
            </p:cNvPr>
            <p:cNvSpPr/>
            <p:nvPr/>
          </p:nvSpPr>
          <p:spPr>
            <a:xfrm>
              <a:off x="312339" y="1763967"/>
              <a:ext cx="2384808" cy="935438"/>
            </a:xfrm>
            <a:prstGeom prst="rect">
              <a:avLst/>
            </a:prstGeom>
            <a:gradFill flip="none" rotWithShape="1">
              <a:gsLst>
                <a:gs pos="15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Robocalls</a:t>
              </a:r>
            </a:p>
          </p:txBody>
        </p:sp>
        <p:graphicFrame>
          <p:nvGraphicFramePr>
            <p:cNvPr id="17" name="Chart 16">
              <a:extLst>
                <a:ext uri="{FF2B5EF4-FFF2-40B4-BE49-F238E27FC236}">
                  <a16:creationId xmlns:a16="http://schemas.microsoft.com/office/drawing/2014/main" id="{A7D5E98F-D7DE-B0E5-8613-A008E5450265}"/>
                </a:ext>
              </a:extLst>
            </p:cNvPr>
            <p:cNvGraphicFramePr/>
            <p:nvPr/>
          </p:nvGraphicFramePr>
          <p:xfrm>
            <a:off x="2805972" y="1198162"/>
            <a:ext cx="4788742" cy="20670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13A5F37-F805-4909-AAB5-20A39127F8CF}"/>
                </a:ext>
              </a:extLst>
            </p:cNvPr>
            <p:cNvSpPr txBox="1"/>
            <p:nvPr/>
          </p:nvSpPr>
          <p:spPr>
            <a:xfrm>
              <a:off x="4841110" y="3070191"/>
              <a:ext cx="455719" cy="194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>
                  <a:solidFill>
                    <a:schemeClr val="accent1"/>
                  </a:solidFill>
                </a:rPr>
                <a:t>BILL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85403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mos Title Master">
  <a:themeElements>
    <a:clrScheme name="Somos Colors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3F4A75"/>
      </a:accent1>
      <a:accent2>
        <a:srgbClr val="B9A3E3"/>
      </a:accent2>
      <a:accent3>
        <a:srgbClr val="6D86C5"/>
      </a:accent3>
      <a:accent4>
        <a:srgbClr val="71285D"/>
      </a:accent4>
      <a:accent5>
        <a:srgbClr val="C0D7E9"/>
      </a:accent5>
      <a:accent6>
        <a:srgbClr val="8BE076"/>
      </a:accent6>
      <a:hlink>
        <a:srgbClr val="B9A3E3"/>
      </a:hlink>
      <a:folHlink>
        <a:srgbClr val="B9A3E3"/>
      </a:folHlink>
    </a:clrScheme>
    <a:fontScheme name="Somos Licensed Fonts">
      <a:majorFont>
        <a:latin typeface="Sharp Sans No2 Bold"/>
        <a:ea typeface=""/>
        <a:cs typeface=""/>
      </a:majorFont>
      <a:minorFont>
        <a:latin typeface="Sharp Sans No2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063BAAA-9976-4743-9DEA-A33429C08CFC}" vid="{447F3C94-97B6-A848-8686-B9862224E315}"/>
    </a:ext>
  </a:extLst>
</a:theme>
</file>

<file path=ppt/theme/theme2.xml><?xml version="1.0" encoding="utf-8"?>
<a:theme xmlns:a="http://schemas.openxmlformats.org/drawingml/2006/main" name="Somos Content Master">
  <a:themeElements>
    <a:clrScheme name="Somos Colors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3F4A75"/>
      </a:accent1>
      <a:accent2>
        <a:srgbClr val="B9A3E3"/>
      </a:accent2>
      <a:accent3>
        <a:srgbClr val="095D9A"/>
      </a:accent3>
      <a:accent4>
        <a:srgbClr val="8BE076"/>
      </a:accent4>
      <a:accent5>
        <a:srgbClr val="71285D"/>
      </a:accent5>
      <a:accent6>
        <a:srgbClr val="C0D7E9"/>
      </a:accent6>
      <a:hlink>
        <a:srgbClr val="B9A3E3"/>
      </a:hlink>
      <a:folHlink>
        <a:srgbClr val="B9A3E3"/>
      </a:folHlink>
    </a:clrScheme>
    <a:fontScheme name="Somos Licensed Fonts">
      <a:majorFont>
        <a:latin typeface="Sharp Sans No2 Bold"/>
        <a:ea typeface=""/>
        <a:cs typeface=""/>
      </a:majorFont>
      <a:minorFont>
        <a:latin typeface="Sharp Sans No2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063BAAA-9976-4743-9DEA-A33429C08CFC}" vid="{45F48D11-2721-1141-A44F-7DBF0A585FFF}"/>
    </a:ext>
  </a:extLst>
</a:theme>
</file>

<file path=ppt/theme/theme3.xml><?xml version="1.0" encoding="utf-8"?>
<a:theme xmlns:a="http://schemas.openxmlformats.org/drawingml/2006/main" name="1_Somos Content Master">
  <a:themeElements>
    <a:clrScheme name="Somos">
      <a:dk1>
        <a:srgbClr val="7F7F7F"/>
      </a:dk1>
      <a:lt1>
        <a:srgbClr val="FFFFFF"/>
      </a:lt1>
      <a:dk2>
        <a:srgbClr val="000000"/>
      </a:dk2>
      <a:lt2>
        <a:srgbClr val="BCA3E2"/>
      </a:lt2>
      <a:accent1>
        <a:srgbClr val="3F4975"/>
      </a:accent1>
      <a:accent2>
        <a:srgbClr val="DCDDDE"/>
      </a:accent2>
      <a:accent3>
        <a:srgbClr val="8F8F8F"/>
      </a:accent3>
      <a:accent4>
        <a:srgbClr val="DCDCDC"/>
      </a:accent4>
      <a:accent5>
        <a:srgbClr val="BCDDE6"/>
      </a:accent5>
      <a:accent6>
        <a:srgbClr val="1F497D"/>
      </a:accent6>
      <a:hlink>
        <a:srgbClr val="414141"/>
      </a:hlink>
      <a:folHlink>
        <a:srgbClr val="414141"/>
      </a:folHlink>
    </a:clrScheme>
    <a:fontScheme name="Custom 6">
      <a:majorFont>
        <a:latin typeface="Arial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B3F2EED7-1A26-4042-99BC-0C13DA551A45}" vid="{58176062-7E3B-D544-8BE3-1E99BE80292A}"/>
    </a:ext>
  </a:extLst>
</a:theme>
</file>

<file path=ppt/theme/theme4.xml><?xml version="1.0" encoding="utf-8"?>
<a:theme xmlns:a="http://schemas.openxmlformats.org/drawingml/2006/main" name="2_Somos Content Master">
  <a:themeElements>
    <a:clrScheme name="Somos Colors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3F4A75"/>
      </a:accent1>
      <a:accent2>
        <a:srgbClr val="B9A3E3"/>
      </a:accent2>
      <a:accent3>
        <a:srgbClr val="6D86C5"/>
      </a:accent3>
      <a:accent4>
        <a:srgbClr val="71285D"/>
      </a:accent4>
      <a:accent5>
        <a:srgbClr val="C0D7E9"/>
      </a:accent5>
      <a:accent6>
        <a:srgbClr val="8BE076"/>
      </a:accent6>
      <a:hlink>
        <a:srgbClr val="B9A3E3"/>
      </a:hlink>
      <a:folHlink>
        <a:srgbClr val="B9A3E3"/>
      </a:folHlink>
    </a:clrScheme>
    <a:fontScheme name="Somos Licensed Fonts">
      <a:majorFont>
        <a:latin typeface="Sharp Sans No2 Bold"/>
        <a:ea typeface=""/>
        <a:cs typeface=""/>
      </a:majorFont>
      <a:minorFont>
        <a:latin typeface="Sharp Sans No2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25DC0EEB-A08E-D145-A999-6A4E9BB4BD92}" vid="{E638A457-6B3F-2B4F-9090-1FEC20EC0A83}"/>
    </a:ext>
  </a:extLst>
</a:theme>
</file>

<file path=ppt/theme/theme5.xml><?xml version="1.0" encoding="utf-8"?>
<a:theme xmlns:a="http://schemas.openxmlformats.org/drawingml/2006/main" name="3_Somos Content Master">
  <a:themeElements>
    <a:clrScheme name="Custom 1">
      <a:dk1>
        <a:srgbClr val="7F7F7F"/>
      </a:dk1>
      <a:lt1>
        <a:srgbClr val="FFFFFF"/>
      </a:lt1>
      <a:dk2>
        <a:srgbClr val="81215E"/>
      </a:dk2>
      <a:lt2>
        <a:srgbClr val="BCA3E2"/>
      </a:lt2>
      <a:accent1>
        <a:srgbClr val="3F4975"/>
      </a:accent1>
      <a:accent2>
        <a:srgbClr val="DCDDDE"/>
      </a:accent2>
      <a:accent3>
        <a:srgbClr val="8F8F8F"/>
      </a:accent3>
      <a:accent4>
        <a:srgbClr val="76A2DB"/>
      </a:accent4>
      <a:accent5>
        <a:srgbClr val="B5D7EA"/>
      </a:accent5>
      <a:accent6>
        <a:srgbClr val="404A76"/>
      </a:accent6>
      <a:hlink>
        <a:srgbClr val="86DC66"/>
      </a:hlink>
      <a:folHlink>
        <a:srgbClr val="414141"/>
      </a:folHlink>
    </a:clrScheme>
    <a:fontScheme name="Custom 6">
      <a:majorFont>
        <a:latin typeface="Arial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B3F2EED7-1A26-4042-99BC-0C13DA551A45}" vid="{58176062-7E3B-D544-8BE3-1E99BE80292A}"/>
    </a:ext>
  </a:extLst>
</a:theme>
</file>

<file path=ppt/theme/theme6.xml><?xml version="1.0" encoding="utf-8"?>
<a:theme xmlns:a="http://schemas.openxmlformats.org/drawingml/2006/main" name="4_Somos Content Master">
  <a:themeElements>
    <a:clrScheme name="Somos Colors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3F4A75"/>
      </a:accent1>
      <a:accent2>
        <a:srgbClr val="B9A3E3"/>
      </a:accent2>
      <a:accent3>
        <a:srgbClr val="095D9A"/>
      </a:accent3>
      <a:accent4>
        <a:srgbClr val="8BE076"/>
      </a:accent4>
      <a:accent5>
        <a:srgbClr val="71285D"/>
      </a:accent5>
      <a:accent6>
        <a:srgbClr val="C0D7E9"/>
      </a:accent6>
      <a:hlink>
        <a:srgbClr val="B9A3E3"/>
      </a:hlink>
      <a:folHlink>
        <a:srgbClr val="B9A3E3"/>
      </a:folHlink>
    </a:clrScheme>
    <a:fontScheme name="Somos Licensed Fonts">
      <a:majorFont>
        <a:latin typeface="Sharp Sans No2 Bold"/>
        <a:ea typeface=""/>
        <a:cs typeface=""/>
      </a:majorFont>
      <a:minorFont>
        <a:latin typeface="Sharp Sans No2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25DC0EEB-A08E-D145-A999-6A4E9BB4BD92}" vid="{E638A457-6B3F-2B4F-9090-1FEC20EC0A83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4CCA34D3194A341B4F4BAFDE28F4906" ma:contentTypeVersion="6" ma:contentTypeDescription="Create a new document." ma:contentTypeScope="" ma:versionID="04c64a9cc8ac489d381e0b304e03cccd">
  <xsd:schema xmlns:xsd="http://www.w3.org/2001/XMLSchema" xmlns:xs="http://www.w3.org/2001/XMLSchema" xmlns:p="http://schemas.microsoft.com/office/2006/metadata/properties" xmlns:ns2="f0abbad5-8df4-47d8-84c0-9d45d153a8b1" xmlns:ns3="b96a5988-2587-4315-abdd-cc00824fe5d8" targetNamespace="http://schemas.microsoft.com/office/2006/metadata/properties" ma:root="true" ma:fieldsID="200038fe3175e064c171807e094bb153" ns2:_="" ns3:_="">
    <xsd:import namespace="f0abbad5-8df4-47d8-84c0-9d45d153a8b1"/>
    <xsd:import namespace="b96a5988-2587-4315-abdd-cc00824fe5d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abbad5-8df4-47d8-84c0-9d45d153a8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6a5988-2587-4315-abdd-cc00824fe5d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2F3AD7F-CF8F-45B3-990C-67F4A2E45D1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F265D9-7E64-48A4-83DD-91C80E75C9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0abbad5-8df4-47d8-84c0-9d45d153a8b1"/>
    <ds:schemaRef ds:uri="b96a5988-2587-4315-abdd-cc00824fe5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5F15B4E-E039-4691-9F4F-7CBCE24D6535}">
  <ds:schemaRefs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purl.org/dc/terms/"/>
    <ds:schemaRef ds:uri="b96a5988-2587-4315-abdd-cc00824fe5d8"/>
    <ds:schemaRef ds:uri="f0abbad5-8df4-47d8-84c0-9d45d153a8b1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omos Title Master</Template>
  <TotalTime>8775</TotalTime>
  <Words>504</Words>
  <Application>Microsoft Macintosh PowerPoint</Application>
  <PresentationFormat>Widescreen</PresentationFormat>
  <Paragraphs>92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Arial</vt:lpstr>
      <vt:lpstr>Calibri</vt:lpstr>
      <vt:lpstr>Sharp Sans No2 Bold</vt:lpstr>
      <vt:lpstr>Sharp Sans No2 Semibold</vt:lpstr>
      <vt:lpstr>SharpSansNo2-Medium</vt:lpstr>
      <vt:lpstr>Somos Title Master</vt:lpstr>
      <vt:lpstr>Somos Content Master</vt:lpstr>
      <vt:lpstr>1_Somos Content Master</vt:lpstr>
      <vt:lpstr>2_Somos Content Master</vt:lpstr>
      <vt:lpstr>3_Somos Content Master</vt:lpstr>
      <vt:lpstr>4_Somos Content Master</vt:lpstr>
      <vt:lpstr>think-cell Slide</vt:lpstr>
      <vt:lpstr> Techniques for Mitigating Fraud (USA):  DNO and Traceback</vt:lpstr>
      <vt:lpstr>Somos U.S. Number Administration Responsibilities</vt:lpstr>
      <vt:lpstr>What is the Problem? </vt:lpstr>
      <vt:lpstr>DNO as a Solution</vt:lpstr>
      <vt:lpstr>How can DNO Support Fraud Mitigation Efforts?</vt:lpstr>
      <vt:lpstr>DNO Results</vt:lpstr>
      <vt:lpstr>Traceback and Enforcement</vt:lpstr>
      <vt:lpstr>Robocall Mitigation Database and Enforcement</vt:lpstr>
      <vt:lpstr>Collective Fraud Mitigation Impact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mos Template</dc:title>
  <dc:creator>Corina Henriques</dc:creator>
  <cp:lastModifiedBy>Ann Berkowitz</cp:lastModifiedBy>
  <cp:revision>33</cp:revision>
  <dcterms:created xsi:type="dcterms:W3CDTF">2024-01-05T14:55:51Z</dcterms:created>
  <dcterms:modified xsi:type="dcterms:W3CDTF">2024-06-28T21:3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CCA34D3194A341B4F4BAFDE28F4906</vt:lpwstr>
  </property>
  <property fmtid="{D5CDD505-2E9C-101B-9397-08002B2CF9AE}" pid="3" name="Order">
    <vt:r8>156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</Properties>
</file>